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3.xml" ContentType="application/vnd.openxmlformats-officedocument.presentationml.notesSlide+xml"/>
  <Override PartName="/ppt/tags/tag11.xml" ContentType="application/vnd.openxmlformats-officedocument.presentationml.tags+xml"/>
  <Override PartName="/ppt/notesSlides/notesSlide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6" Type="http://schemas.microsoft.com/office/2020/02/relationships/classificationlabels" Target="docMetadata/LabelInfo.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1" r:id="rId4"/>
  </p:sldMasterIdLst>
  <p:notesMasterIdLst>
    <p:notesMasterId r:id="rId16"/>
  </p:notesMasterIdLst>
  <p:handoutMasterIdLst>
    <p:handoutMasterId r:id="rId17"/>
  </p:handoutMasterIdLst>
  <p:sldIdLst>
    <p:sldId id="1512" r:id="rId5"/>
    <p:sldId id="1521" r:id="rId6"/>
    <p:sldId id="1516" r:id="rId7"/>
    <p:sldId id="1515" r:id="rId8"/>
    <p:sldId id="1522" r:id="rId9"/>
    <p:sldId id="1527" r:id="rId10"/>
    <p:sldId id="1579" r:id="rId11"/>
    <p:sldId id="1524" r:id="rId12"/>
    <p:sldId id="1580" r:id="rId13"/>
    <p:sldId id="1526" r:id="rId14"/>
    <p:sldId id="1519" r:id="rId15"/>
  </p:sldIdLst>
  <p:sldSz cx="12192000" cy="6858000"/>
  <p:notesSz cx="6794500" cy="9918700"/>
  <p:custDataLst>
    <p:tags r:id="rId18"/>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FX Trading" id="{FCAAC2CA-8106-4D8A-9ABC-A25557C291D2}">
          <p14:sldIdLst>
            <p14:sldId id="1512"/>
            <p14:sldId id="1521"/>
            <p14:sldId id="1516"/>
            <p14:sldId id="1515"/>
            <p14:sldId id="1522"/>
            <p14:sldId id="1527"/>
            <p14:sldId id="1579"/>
            <p14:sldId id="1524"/>
            <p14:sldId id="1580"/>
            <p14:sldId id="1526"/>
            <p14:sldId id="1519"/>
          </p14:sldIdLst>
        </p14:section>
      </p14:sectionLst>
    </p:ext>
    <p:ext uri="{EFAFB233-063F-42B5-8137-9DF3F51BA10A}">
      <p15:sldGuideLst xmlns:p15="http://schemas.microsoft.com/office/powerpoint/2012/main">
        <p15:guide id="1" orient="horz" pos="1253" userDrawn="1">
          <p15:clr>
            <a:srgbClr val="A4A3A4"/>
          </p15:clr>
        </p15:guide>
        <p15:guide id="2" pos="3840">
          <p15:clr>
            <a:srgbClr val="A4A3A4"/>
          </p15:clr>
        </p15:guide>
      </p15:sldGuideLst>
    </p:ext>
    <p:ext uri="{2D200454-40CA-4A62-9FC3-DE9A4176ACB9}">
      <p15:notesGuideLst xmlns:p15="http://schemas.microsoft.com/office/powerpoint/2012/main">
        <p15:guide id="1" orient="horz" pos="3124">
          <p15:clr>
            <a:srgbClr val="A4A3A4"/>
          </p15:clr>
        </p15:guide>
        <p15:guide id="2" pos="2140">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5194109-63B2-A407-D092-FF45B20DF695}" name="Brunner Jacqueline" initials="JB" userId="S::Jacqueline.Brunner@wir.ch::ea8f144c-aa67-40e4-8303-e5bea3f9da9a" providerId="AD"/>
  <p188:author id="{437F2D64-1AE5-F360-34D4-BCD641595B19}" name="Haslebacher André" initials="HA" userId="S::Andre.Haslebacher@wir.ch::5053730f-19ee-4020-b505-ad4876b800d0" providerId="AD"/>
  <p188:author id="{C8E5036D-CAC6-88D8-E4DF-1D74B7ADADF0}" name="Hess Daniel" initials="HD" userId="S::daniel.hess@wir.ch::81f7b46d-f428-49ed-9b76-68aff307b8df" providerId="AD"/>
  <p188:author id="{295EB19D-12FA-954D-3387-DE472381419C}" name="Hess Daniel" initials="HD" userId="S::Daniel.Hess@wir.ch::81f7b46d-f428-49ed-9b76-68aff307b8df" providerId="AD"/>
  <p188:author id="{0C4850CD-91BC-732B-1985-E5CD293CE674}" name="Meyer Eliane" initials="ME" userId="S::eliane.meyer@wir.ch::0292f837-96c1-43b2-97f9-da326459e915"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Pfeifer Matthias" initials="PM" lastIdx="4"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2889D"/>
    <a:srgbClr val="28828B"/>
    <a:srgbClr val="EDF1D1"/>
    <a:srgbClr val="A5BB1A"/>
    <a:srgbClr val="E6140A"/>
    <a:srgbClr val="D4E6E8"/>
    <a:srgbClr val="A0C8CC"/>
    <a:srgbClr val="82B6BC"/>
    <a:srgbClr val="68A7AE"/>
    <a:srgbClr val="7EB4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D497D6-CB1A-414F-8911-50718AFEE55F}" v="2" dt="2024-04-09T06:30:34.435"/>
  </p1510:revLst>
</p1510:revInfo>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ittlere Formatvorlage 2 - Akz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2D5ABB26-0587-4C30-8999-92F81FD0307C}" styleName="Keine Formatvorlage, kei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105" d="100"/>
          <a:sy n="105" d="100"/>
        </p:scale>
        <p:origin x="798" y="96"/>
      </p:cViewPr>
      <p:guideLst>
        <p:guide orient="horz" pos="1253"/>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124"/>
        <p:guide pos="2140"/>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26" Type="http://schemas.microsoft.com/office/2018/10/relationships/authors" Target="authors.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6/11/relationships/changesInfo" Target="changesInfos/changesInfo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Meyer Eliane" userId="0292f837-96c1-43b2-97f9-da326459e915" providerId="ADAL" clId="{3DF42C44-365F-4769-897E-208499BD6744}"/>
    <pc:docChg chg="delSld delSection modSection">
      <pc:chgData name="Meyer Eliane" userId="0292f837-96c1-43b2-97f9-da326459e915" providerId="ADAL" clId="{3DF42C44-365F-4769-897E-208499BD6744}" dt="2024-04-09T06:45:27.692" v="12" actId="47"/>
      <pc:docMkLst>
        <pc:docMk/>
      </pc:docMkLst>
      <pc:sldChg chg="del">
        <pc:chgData name="Meyer Eliane" userId="0292f837-96c1-43b2-97f9-da326459e915" providerId="ADAL" clId="{3DF42C44-365F-4769-897E-208499BD6744}" dt="2024-04-09T06:45:25.938" v="11" actId="47"/>
        <pc:sldMkLst>
          <pc:docMk/>
          <pc:sldMk cId="327606045" sldId="294"/>
        </pc:sldMkLst>
      </pc:sldChg>
      <pc:sldChg chg="del">
        <pc:chgData name="Meyer Eliane" userId="0292f837-96c1-43b2-97f9-da326459e915" providerId="ADAL" clId="{3DF42C44-365F-4769-897E-208499BD6744}" dt="2024-04-09T06:45:25.938" v="11" actId="47"/>
        <pc:sldMkLst>
          <pc:docMk/>
          <pc:sldMk cId="461218382" sldId="296"/>
        </pc:sldMkLst>
      </pc:sldChg>
      <pc:sldChg chg="del">
        <pc:chgData name="Meyer Eliane" userId="0292f837-96c1-43b2-97f9-da326459e915" providerId="ADAL" clId="{3DF42C44-365F-4769-897E-208499BD6744}" dt="2024-04-09T06:45:25.938" v="11" actId="47"/>
        <pc:sldMkLst>
          <pc:docMk/>
          <pc:sldMk cId="3951766108" sldId="303"/>
        </pc:sldMkLst>
      </pc:sldChg>
      <pc:sldChg chg="del">
        <pc:chgData name="Meyer Eliane" userId="0292f837-96c1-43b2-97f9-da326459e915" providerId="ADAL" clId="{3DF42C44-365F-4769-897E-208499BD6744}" dt="2024-04-09T06:45:25.938" v="11" actId="47"/>
        <pc:sldMkLst>
          <pc:docMk/>
          <pc:sldMk cId="4090554136" sldId="304"/>
        </pc:sldMkLst>
      </pc:sldChg>
      <pc:sldChg chg="del">
        <pc:chgData name="Meyer Eliane" userId="0292f837-96c1-43b2-97f9-da326459e915" providerId="ADAL" clId="{3DF42C44-365F-4769-897E-208499BD6744}" dt="2024-04-09T06:45:25.938" v="11" actId="47"/>
        <pc:sldMkLst>
          <pc:docMk/>
          <pc:sldMk cId="1772048081" sldId="305"/>
        </pc:sldMkLst>
      </pc:sldChg>
      <pc:sldChg chg="del">
        <pc:chgData name="Meyer Eliane" userId="0292f837-96c1-43b2-97f9-da326459e915" providerId="ADAL" clId="{3DF42C44-365F-4769-897E-208499BD6744}" dt="2024-04-09T06:45:05.773" v="0" actId="47"/>
        <pc:sldMkLst>
          <pc:docMk/>
          <pc:sldMk cId="568379469" sldId="350"/>
        </pc:sldMkLst>
      </pc:sldChg>
      <pc:sldChg chg="del">
        <pc:chgData name="Meyer Eliane" userId="0292f837-96c1-43b2-97f9-da326459e915" providerId="ADAL" clId="{3DF42C44-365F-4769-897E-208499BD6744}" dt="2024-04-09T06:45:05.773" v="0" actId="47"/>
        <pc:sldMkLst>
          <pc:docMk/>
          <pc:sldMk cId="1371491227" sldId="1366"/>
        </pc:sldMkLst>
      </pc:sldChg>
      <pc:sldChg chg="del">
        <pc:chgData name="Meyer Eliane" userId="0292f837-96c1-43b2-97f9-da326459e915" providerId="ADAL" clId="{3DF42C44-365F-4769-897E-208499BD6744}" dt="2024-04-09T06:45:05.773" v="0" actId="47"/>
        <pc:sldMkLst>
          <pc:docMk/>
          <pc:sldMk cId="2913160930" sldId="1378"/>
        </pc:sldMkLst>
      </pc:sldChg>
      <pc:sldChg chg="del">
        <pc:chgData name="Meyer Eliane" userId="0292f837-96c1-43b2-97f9-da326459e915" providerId="ADAL" clId="{3DF42C44-365F-4769-897E-208499BD6744}" dt="2024-04-09T06:45:05.773" v="0" actId="47"/>
        <pc:sldMkLst>
          <pc:docMk/>
          <pc:sldMk cId="953472289" sldId="1382"/>
        </pc:sldMkLst>
      </pc:sldChg>
      <pc:sldChg chg="del">
        <pc:chgData name="Meyer Eliane" userId="0292f837-96c1-43b2-97f9-da326459e915" providerId="ADAL" clId="{3DF42C44-365F-4769-897E-208499BD6744}" dt="2024-04-09T06:45:25.938" v="11" actId="47"/>
        <pc:sldMkLst>
          <pc:docMk/>
          <pc:sldMk cId="271739446" sldId="1383"/>
        </pc:sldMkLst>
      </pc:sldChg>
      <pc:sldChg chg="del">
        <pc:chgData name="Meyer Eliane" userId="0292f837-96c1-43b2-97f9-da326459e915" providerId="ADAL" clId="{3DF42C44-365F-4769-897E-208499BD6744}" dt="2024-04-09T06:45:25.938" v="11" actId="47"/>
        <pc:sldMkLst>
          <pc:docMk/>
          <pc:sldMk cId="2276646474" sldId="1385"/>
        </pc:sldMkLst>
      </pc:sldChg>
      <pc:sldChg chg="del">
        <pc:chgData name="Meyer Eliane" userId="0292f837-96c1-43b2-97f9-da326459e915" providerId="ADAL" clId="{3DF42C44-365F-4769-897E-208499BD6744}" dt="2024-04-09T06:45:05.773" v="0" actId="47"/>
        <pc:sldMkLst>
          <pc:docMk/>
          <pc:sldMk cId="383354183" sldId="1388"/>
        </pc:sldMkLst>
      </pc:sldChg>
      <pc:sldChg chg="del">
        <pc:chgData name="Meyer Eliane" userId="0292f837-96c1-43b2-97f9-da326459e915" providerId="ADAL" clId="{3DF42C44-365F-4769-897E-208499BD6744}" dt="2024-04-09T06:45:05.773" v="0" actId="47"/>
        <pc:sldMkLst>
          <pc:docMk/>
          <pc:sldMk cId="4162835921" sldId="1392"/>
        </pc:sldMkLst>
      </pc:sldChg>
      <pc:sldChg chg="del">
        <pc:chgData name="Meyer Eliane" userId="0292f837-96c1-43b2-97f9-da326459e915" providerId="ADAL" clId="{3DF42C44-365F-4769-897E-208499BD6744}" dt="2024-04-09T06:45:05.773" v="0" actId="47"/>
        <pc:sldMkLst>
          <pc:docMk/>
          <pc:sldMk cId="1239904611" sldId="1394"/>
        </pc:sldMkLst>
      </pc:sldChg>
      <pc:sldChg chg="del">
        <pc:chgData name="Meyer Eliane" userId="0292f837-96c1-43b2-97f9-da326459e915" providerId="ADAL" clId="{3DF42C44-365F-4769-897E-208499BD6744}" dt="2024-04-09T06:45:05.773" v="0" actId="47"/>
        <pc:sldMkLst>
          <pc:docMk/>
          <pc:sldMk cId="4263910495" sldId="1404"/>
        </pc:sldMkLst>
      </pc:sldChg>
      <pc:sldChg chg="del">
        <pc:chgData name="Meyer Eliane" userId="0292f837-96c1-43b2-97f9-da326459e915" providerId="ADAL" clId="{3DF42C44-365F-4769-897E-208499BD6744}" dt="2024-04-09T06:45:25.938" v="11" actId="47"/>
        <pc:sldMkLst>
          <pc:docMk/>
          <pc:sldMk cId="3050826149" sldId="1421"/>
        </pc:sldMkLst>
      </pc:sldChg>
      <pc:sldChg chg="del">
        <pc:chgData name="Meyer Eliane" userId="0292f837-96c1-43b2-97f9-da326459e915" providerId="ADAL" clId="{3DF42C44-365F-4769-897E-208499BD6744}" dt="2024-04-09T06:45:05.773" v="0" actId="47"/>
        <pc:sldMkLst>
          <pc:docMk/>
          <pc:sldMk cId="954933679" sldId="1423"/>
        </pc:sldMkLst>
      </pc:sldChg>
      <pc:sldChg chg="del">
        <pc:chgData name="Meyer Eliane" userId="0292f837-96c1-43b2-97f9-da326459e915" providerId="ADAL" clId="{3DF42C44-365F-4769-897E-208499BD6744}" dt="2024-04-09T06:45:05.773" v="0" actId="47"/>
        <pc:sldMkLst>
          <pc:docMk/>
          <pc:sldMk cId="1408162829" sldId="1425"/>
        </pc:sldMkLst>
      </pc:sldChg>
      <pc:sldChg chg="del">
        <pc:chgData name="Meyer Eliane" userId="0292f837-96c1-43b2-97f9-da326459e915" providerId="ADAL" clId="{3DF42C44-365F-4769-897E-208499BD6744}" dt="2024-04-09T06:45:05.773" v="0" actId="47"/>
        <pc:sldMkLst>
          <pc:docMk/>
          <pc:sldMk cId="3430263782" sldId="1427"/>
        </pc:sldMkLst>
      </pc:sldChg>
      <pc:sldChg chg="del">
        <pc:chgData name="Meyer Eliane" userId="0292f837-96c1-43b2-97f9-da326459e915" providerId="ADAL" clId="{3DF42C44-365F-4769-897E-208499BD6744}" dt="2024-04-09T06:45:05.773" v="0" actId="47"/>
        <pc:sldMkLst>
          <pc:docMk/>
          <pc:sldMk cId="3496589098" sldId="1430"/>
        </pc:sldMkLst>
      </pc:sldChg>
      <pc:sldChg chg="del">
        <pc:chgData name="Meyer Eliane" userId="0292f837-96c1-43b2-97f9-da326459e915" providerId="ADAL" clId="{3DF42C44-365F-4769-897E-208499BD6744}" dt="2024-04-09T06:45:05.773" v="0" actId="47"/>
        <pc:sldMkLst>
          <pc:docMk/>
          <pc:sldMk cId="3878544657" sldId="1431"/>
        </pc:sldMkLst>
      </pc:sldChg>
      <pc:sldChg chg="del">
        <pc:chgData name="Meyer Eliane" userId="0292f837-96c1-43b2-97f9-da326459e915" providerId="ADAL" clId="{3DF42C44-365F-4769-897E-208499BD6744}" dt="2024-04-09T06:45:05.773" v="0" actId="47"/>
        <pc:sldMkLst>
          <pc:docMk/>
          <pc:sldMk cId="344473117" sldId="1444"/>
        </pc:sldMkLst>
      </pc:sldChg>
      <pc:sldChg chg="del">
        <pc:chgData name="Meyer Eliane" userId="0292f837-96c1-43b2-97f9-da326459e915" providerId="ADAL" clId="{3DF42C44-365F-4769-897E-208499BD6744}" dt="2024-04-09T06:45:05.773" v="0" actId="47"/>
        <pc:sldMkLst>
          <pc:docMk/>
          <pc:sldMk cId="264168971" sldId="1445"/>
        </pc:sldMkLst>
      </pc:sldChg>
      <pc:sldChg chg="del">
        <pc:chgData name="Meyer Eliane" userId="0292f837-96c1-43b2-97f9-da326459e915" providerId="ADAL" clId="{3DF42C44-365F-4769-897E-208499BD6744}" dt="2024-04-09T06:45:05.773" v="0" actId="47"/>
        <pc:sldMkLst>
          <pc:docMk/>
          <pc:sldMk cId="952264611" sldId="1446"/>
        </pc:sldMkLst>
      </pc:sldChg>
      <pc:sldChg chg="del">
        <pc:chgData name="Meyer Eliane" userId="0292f837-96c1-43b2-97f9-da326459e915" providerId="ADAL" clId="{3DF42C44-365F-4769-897E-208499BD6744}" dt="2024-04-09T06:45:05.773" v="0" actId="47"/>
        <pc:sldMkLst>
          <pc:docMk/>
          <pc:sldMk cId="530257103" sldId="1447"/>
        </pc:sldMkLst>
      </pc:sldChg>
      <pc:sldChg chg="del">
        <pc:chgData name="Meyer Eliane" userId="0292f837-96c1-43b2-97f9-da326459e915" providerId="ADAL" clId="{3DF42C44-365F-4769-897E-208499BD6744}" dt="2024-04-09T06:45:05.773" v="0" actId="47"/>
        <pc:sldMkLst>
          <pc:docMk/>
          <pc:sldMk cId="803882490" sldId="1452"/>
        </pc:sldMkLst>
      </pc:sldChg>
      <pc:sldChg chg="del">
        <pc:chgData name="Meyer Eliane" userId="0292f837-96c1-43b2-97f9-da326459e915" providerId="ADAL" clId="{3DF42C44-365F-4769-897E-208499BD6744}" dt="2024-04-09T06:45:05.773" v="0" actId="47"/>
        <pc:sldMkLst>
          <pc:docMk/>
          <pc:sldMk cId="205072990" sldId="1459"/>
        </pc:sldMkLst>
      </pc:sldChg>
      <pc:sldChg chg="del">
        <pc:chgData name="Meyer Eliane" userId="0292f837-96c1-43b2-97f9-da326459e915" providerId="ADAL" clId="{3DF42C44-365F-4769-897E-208499BD6744}" dt="2024-04-09T06:45:05.773" v="0" actId="47"/>
        <pc:sldMkLst>
          <pc:docMk/>
          <pc:sldMk cId="3565536794" sldId="1461"/>
        </pc:sldMkLst>
      </pc:sldChg>
      <pc:sldChg chg="del">
        <pc:chgData name="Meyer Eliane" userId="0292f837-96c1-43b2-97f9-da326459e915" providerId="ADAL" clId="{3DF42C44-365F-4769-897E-208499BD6744}" dt="2024-04-09T06:45:25.938" v="11" actId="47"/>
        <pc:sldMkLst>
          <pc:docMk/>
          <pc:sldMk cId="2747303279" sldId="1467"/>
        </pc:sldMkLst>
      </pc:sldChg>
      <pc:sldChg chg="del">
        <pc:chgData name="Meyer Eliane" userId="0292f837-96c1-43b2-97f9-da326459e915" providerId="ADAL" clId="{3DF42C44-365F-4769-897E-208499BD6744}" dt="2024-04-09T06:45:25.938" v="11" actId="47"/>
        <pc:sldMkLst>
          <pc:docMk/>
          <pc:sldMk cId="3139827696" sldId="1468"/>
        </pc:sldMkLst>
      </pc:sldChg>
      <pc:sldChg chg="del">
        <pc:chgData name="Meyer Eliane" userId="0292f837-96c1-43b2-97f9-da326459e915" providerId="ADAL" clId="{3DF42C44-365F-4769-897E-208499BD6744}" dt="2024-04-09T06:45:25.938" v="11" actId="47"/>
        <pc:sldMkLst>
          <pc:docMk/>
          <pc:sldMk cId="1824788095" sldId="1469"/>
        </pc:sldMkLst>
      </pc:sldChg>
      <pc:sldChg chg="del">
        <pc:chgData name="Meyer Eliane" userId="0292f837-96c1-43b2-97f9-da326459e915" providerId="ADAL" clId="{3DF42C44-365F-4769-897E-208499BD6744}" dt="2024-04-09T06:45:27.692" v="12" actId="47"/>
        <pc:sldMkLst>
          <pc:docMk/>
          <pc:sldMk cId="1168143743" sldId="1471"/>
        </pc:sldMkLst>
      </pc:sldChg>
      <pc:sldChg chg="del">
        <pc:chgData name="Meyer Eliane" userId="0292f837-96c1-43b2-97f9-da326459e915" providerId="ADAL" clId="{3DF42C44-365F-4769-897E-208499BD6744}" dt="2024-04-09T06:45:05.773" v="0" actId="47"/>
        <pc:sldMkLst>
          <pc:docMk/>
          <pc:sldMk cId="2781843017" sldId="1472"/>
        </pc:sldMkLst>
      </pc:sldChg>
      <pc:sldChg chg="del">
        <pc:chgData name="Meyer Eliane" userId="0292f837-96c1-43b2-97f9-da326459e915" providerId="ADAL" clId="{3DF42C44-365F-4769-897E-208499BD6744}" dt="2024-04-09T06:45:27.692" v="12" actId="47"/>
        <pc:sldMkLst>
          <pc:docMk/>
          <pc:sldMk cId="3005610236" sldId="1473"/>
        </pc:sldMkLst>
      </pc:sldChg>
      <pc:sldChg chg="del">
        <pc:chgData name="Meyer Eliane" userId="0292f837-96c1-43b2-97f9-da326459e915" providerId="ADAL" clId="{3DF42C44-365F-4769-897E-208499BD6744}" dt="2024-04-09T06:45:05.773" v="0" actId="47"/>
        <pc:sldMkLst>
          <pc:docMk/>
          <pc:sldMk cId="1713297996" sldId="1478"/>
        </pc:sldMkLst>
      </pc:sldChg>
      <pc:sldChg chg="del">
        <pc:chgData name="Meyer Eliane" userId="0292f837-96c1-43b2-97f9-da326459e915" providerId="ADAL" clId="{3DF42C44-365F-4769-897E-208499BD6744}" dt="2024-04-09T06:45:05.773" v="0" actId="47"/>
        <pc:sldMkLst>
          <pc:docMk/>
          <pc:sldMk cId="1156523036" sldId="1489"/>
        </pc:sldMkLst>
      </pc:sldChg>
      <pc:sldChg chg="del">
        <pc:chgData name="Meyer Eliane" userId="0292f837-96c1-43b2-97f9-da326459e915" providerId="ADAL" clId="{3DF42C44-365F-4769-897E-208499BD6744}" dt="2024-04-09T06:45:05.773" v="0" actId="47"/>
        <pc:sldMkLst>
          <pc:docMk/>
          <pc:sldMk cId="3922448009" sldId="1493"/>
        </pc:sldMkLst>
      </pc:sldChg>
      <pc:sldChg chg="del">
        <pc:chgData name="Meyer Eliane" userId="0292f837-96c1-43b2-97f9-da326459e915" providerId="ADAL" clId="{3DF42C44-365F-4769-897E-208499BD6744}" dt="2024-04-09T06:45:05.773" v="0" actId="47"/>
        <pc:sldMkLst>
          <pc:docMk/>
          <pc:sldMk cId="858955715" sldId="1494"/>
        </pc:sldMkLst>
      </pc:sldChg>
      <pc:sldChg chg="del">
        <pc:chgData name="Meyer Eliane" userId="0292f837-96c1-43b2-97f9-da326459e915" providerId="ADAL" clId="{3DF42C44-365F-4769-897E-208499BD6744}" dt="2024-04-09T06:45:05.773" v="0" actId="47"/>
        <pc:sldMkLst>
          <pc:docMk/>
          <pc:sldMk cId="2470244131" sldId="1496"/>
        </pc:sldMkLst>
      </pc:sldChg>
      <pc:sldChg chg="del">
        <pc:chgData name="Meyer Eliane" userId="0292f837-96c1-43b2-97f9-da326459e915" providerId="ADAL" clId="{3DF42C44-365F-4769-897E-208499BD6744}" dt="2024-04-09T06:45:05.773" v="0" actId="47"/>
        <pc:sldMkLst>
          <pc:docMk/>
          <pc:sldMk cId="2540603508" sldId="1497"/>
        </pc:sldMkLst>
      </pc:sldChg>
      <pc:sldChg chg="del">
        <pc:chgData name="Meyer Eliane" userId="0292f837-96c1-43b2-97f9-da326459e915" providerId="ADAL" clId="{3DF42C44-365F-4769-897E-208499BD6744}" dt="2024-04-09T06:45:05.773" v="0" actId="47"/>
        <pc:sldMkLst>
          <pc:docMk/>
          <pc:sldMk cId="4086183340" sldId="1499"/>
        </pc:sldMkLst>
      </pc:sldChg>
      <pc:sldChg chg="del">
        <pc:chgData name="Meyer Eliane" userId="0292f837-96c1-43b2-97f9-da326459e915" providerId="ADAL" clId="{3DF42C44-365F-4769-897E-208499BD6744}" dt="2024-04-09T06:45:05.773" v="0" actId="47"/>
        <pc:sldMkLst>
          <pc:docMk/>
          <pc:sldMk cId="3384877103" sldId="1500"/>
        </pc:sldMkLst>
      </pc:sldChg>
      <pc:sldChg chg="del">
        <pc:chgData name="Meyer Eliane" userId="0292f837-96c1-43b2-97f9-da326459e915" providerId="ADAL" clId="{3DF42C44-365F-4769-897E-208499BD6744}" dt="2024-04-09T06:45:05.773" v="0" actId="47"/>
        <pc:sldMkLst>
          <pc:docMk/>
          <pc:sldMk cId="4077517687" sldId="1501"/>
        </pc:sldMkLst>
      </pc:sldChg>
      <pc:sldChg chg="del">
        <pc:chgData name="Meyer Eliane" userId="0292f837-96c1-43b2-97f9-da326459e915" providerId="ADAL" clId="{3DF42C44-365F-4769-897E-208499BD6744}" dt="2024-04-09T06:45:05.773" v="0" actId="47"/>
        <pc:sldMkLst>
          <pc:docMk/>
          <pc:sldMk cId="3486676379" sldId="1502"/>
        </pc:sldMkLst>
      </pc:sldChg>
      <pc:sldChg chg="del">
        <pc:chgData name="Meyer Eliane" userId="0292f837-96c1-43b2-97f9-da326459e915" providerId="ADAL" clId="{3DF42C44-365F-4769-897E-208499BD6744}" dt="2024-04-09T06:45:05.773" v="0" actId="47"/>
        <pc:sldMkLst>
          <pc:docMk/>
          <pc:sldMk cId="609333123" sldId="1503"/>
        </pc:sldMkLst>
      </pc:sldChg>
      <pc:sldChg chg="del">
        <pc:chgData name="Meyer Eliane" userId="0292f837-96c1-43b2-97f9-da326459e915" providerId="ADAL" clId="{3DF42C44-365F-4769-897E-208499BD6744}" dt="2024-04-09T06:45:05.773" v="0" actId="47"/>
        <pc:sldMkLst>
          <pc:docMk/>
          <pc:sldMk cId="3094628475" sldId="1504"/>
        </pc:sldMkLst>
      </pc:sldChg>
      <pc:sldChg chg="del">
        <pc:chgData name="Meyer Eliane" userId="0292f837-96c1-43b2-97f9-da326459e915" providerId="ADAL" clId="{3DF42C44-365F-4769-897E-208499BD6744}" dt="2024-04-09T06:45:05.773" v="0" actId="47"/>
        <pc:sldMkLst>
          <pc:docMk/>
          <pc:sldMk cId="3290040640" sldId="1506"/>
        </pc:sldMkLst>
      </pc:sldChg>
      <pc:sldChg chg="del">
        <pc:chgData name="Meyer Eliane" userId="0292f837-96c1-43b2-97f9-da326459e915" providerId="ADAL" clId="{3DF42C44-365F-4769-897E-208499BD6744}" dt="2024-04-09T06:45:05.773" v="0" actId="47"/>
        <pc:sldMkLst>
          <pc:docMk/>
          <pc:sldMk cId="3574386277" sldId="1507"/>
        </pc:sldMkLst>
      </pc:sldChg>
      <pc:sldChg chg="del">
        <pc:chgData name="Meyer Eliane" userId="0292f837-96c1-43b2-97f9-da326459e915" providerId="ADAL" clId="{3DF42C44-365F-4769-897E-208499BD6744}" dt="2024-04-09T06:45:05.773" v="0" actId="47"/>
        <pc:sldMkLst>
          <pc:docMk/>
          <pc:sldMk cId="3926308143" sldId="1508"/>
        </pc:sldMkLst>
      </pc:sldChg>
      <pc:sldChg chg="del">
        <pc:chgData name="Meyer Eliane" userId="0292f837-96c1-43b2-97f9-da326459e915" providerId="ADAL" clId="{3DF42C44-365F-4769-897E-208499BD6744}" dt="2024-04-09T06:45:05.773" v="0" actId="47"/>
        <pc:sldMkLst>
          <pc:docMk/>
          <pc:sldMk cId="741786008" sldId="1509"/>
        </pc:sldMkLst>
      </pc:sldChg>
      <pc:sldChg chg="del">
        <pc:chgData name="Meyer Eliane" userId="0292f837-96c1-43b2-97f9-da326459e915" providerId="ADAL" clId="{3DF42C44-365F-4769-897E-208499BD6744}" dt="2024-04-09T06:45:05.773" v="0" actId="47"/>
        <pc:sldMkLst>
          <pc:docMk/>
          <pc:sldMk cId="3817508674" sldId="1528"/>
        </pc:sldMkLst>
      </pc:sldChg>
      <pc:sldChg chg="del">
        <pc:chgData name="Meyer Eliane" userId="0292f837-96c1-43b2-97f9-da326459e915" providerId="ADAL" clId="{3DF42C44-365F-4769-897E-208499BD6744}" dt="2024-04-09T06:45:05.773" v="0" actId="47"/>
        <pc:sldMkLst>
          <pc:docMk/>
          <pc:sldMk cId="1084051779" sldId="1529"/>
        </pc:sldMkLst>
      </pc:sldChg>
      <pc:sldChg chg="del">
        <pc:chgData name="Meyer Eliane" userId="0292f837-96c1-43b2-97f9-da326459e915" providerId="ADAL" clId="{3DF42C44-365F-4769-897E-208499BD6744}" dt="2024-04-09T06:45:05.773" v="0" actId="47"/>
        <pc:sldMkLst>
          <pc:docMk/>
          <pc:sldMk cId="1679775807" sldId="1530"/>
        </pc:sldMkLst>
      </pc:sldChg>
      <pc:sldChg chg="del">
        <pc:chgData name="Meyer Eliane" userId="0292f837-96c1-43b2-97f9-da326459e915" providerId="ADAL" clId="{3DF42C44-365F-4769-897E-208499BD6744}" dt="2024-04-09T06:45:27.692" v="12" actId="47"/>
        <pc:sldMkLst>
          <pc:docMk/>
          <pc:sldMk cId="2125421585" sldId="1531"/>
        </pc:sldMkLst>
      </pc:sldChg>
      <pc:sldChg chg="del">
        <pc:chgData name="Meyer Eliane" userId="0292f837-96c1-43b2-97f9-da326459e915" providerId="ADAL" clId="{3DF42C44-365F-4769-897E-208499BD6744}" dt="2024-04-09T06:45:25.938" v="11" actId="47"/>
        <pc:sldMkLst>
          <pc:docMk/>
          <pc:sldMk cId="786381119" sldId="1533"/>
        </pc:sldMkLst>
      </pc:sldChg>
      <pc:sldChg chg="del">
        <pc:chgData name="Meyer Eliane" userId="0292f837-96c1-43b2-97f9-da326459e915" providerId="ADAL" clId="{3DF42C44-365F-4769-897E-208499BD6744}" dt="2024-04-09T06:45:27.692" v="12" actId="47"/>
        <pc:sldMkLst>
          <pc:docMk/>
          <pc:sldMk cId="225046565" sldId="1534"/>
        </pc:sldMkLst>
      </pc:sldChg>
      <pc:sldChg chg="del">
        <pc:chgData name="Meyer Eliane" userId="0292f837-96c1-43b2-97f9-da326459e915" providerId="ADAL" clId="{3DF42C44-365F-4769-897E-208499BD6744}" dt="2024-04-09T06:45:05.773" v="0" actId="47"/>
        <pc:sldMkLst>
          <pc:docMk/>
          <pc:sldMk cId="3339607131" sldId="1536"/>
        </pc:sldMkLst>
      </pc:sldChg>
      <pc:sldChg chg="del">
        <pc:chgData name="Meyer Eliane" userId="0292f837-96c1-43b2-97f9-da326459e915" providerId="ADAL" clId="{3DF42C44-365F-4769-897E-208499BD6744}" dt="2024-04-09T06:45:05.773" v="0" actId="47"/>
        <pc:sldMkLst>
          <pc:docMk/>
          <pc:sldMk cId="831088886" sldId="1538"/>
        </pc:sldMkLst>
      </pc:sldChg>
      <pc:sldChg chg="del">
        <pc:chgData name="Meyer Eliane" userId="0292f837-96c1-43b2-97f9-da326459e915" providerId="ADAL" clId="{3DF42C44-365F-4769-897E-208499BD6744}" dt="2024-04-09T06:45:05.773" v="0" actId="47"/>
        <pc:sldMkLst>
          <pc:docMk/>
          <pc:sldMk cId="3446497350" sldId="1541"/>
        </pc:sldMkLst>
      </pc:sldChg>
      <pc:sldChg chg="del">
        <pc:chgData name="Meyer Eliane" userId="0292f837-96c1-43b2-97f9-da326459e915" providerId="ADAL" clId="{3DF42C44-365F-4769-897E-208499BD6744}" dt="2024-04-09T06:45:05.773" v="0" actId="47"/>
        <pc:sldMkLst>
          <pc:docMk/>
          <pc:sldMk cId="2748382015" sldId="1542"/>
        </pc:sldMkLst>
      </pc:sldChg>
      <pc:sldChg chg="del">
        <pc:chgData name="Meyer Eliane" userId="0292f837-96c1-43b2-97f9-da326459e915" providerId="ADAL" clId="{3DF42C44-365F-4769-897E-208499BD6744}" dt="2024-04-09T06:45:05.773" v="0" actId="47"/>
        <pc:sldMkLst>
          <pc:docMk/>
          <pc:sldMk cId="706025789" sldId="1544"/>
        </pc:sldMkLst>
      </pc:sldChg>
      <pc:sldChg chg="del">
        <pc:chgData name="Meyer Eliane" userId="0292f837-96c1-43b2-97f9-da326459e915" providerId="ADAL" clId="{3DF42C44-365F-4769-897E-208499BD6744}" dt="2024-04-09T06:45:05.773" v="0" actId="47"/>
        <pc:sldMkLst>
          <pc:docMk/>
          <pc:sldMk cId="2464895781" sldId="1546"/>
        </pc:sldMkLst>
      </pc:sldChg>
      <pc:sldChg chg="del">
        <pc:chgData name="Meyer Eliane" userId="0292f837-96c1-43b2-97f9-da326459e915" providerId="ADAL" clId="{3DF42C44-365F-4769-897E-208499BD6744}" dt="2024-04-09T06:45:05.773" v="0" actId="47"/>
        <pc:sldMkLst>
          <pc:docMk/>
          <pc:sldMk cId="2365760710" sldId="1547"/>
        </pc:sldMkLst>
      </pc:sldChg>
      <pc:sldChg chg="del">
        <pc:chgData name="Meyer Eliane" userId="0292f837-96c1-43b2-97f9-da326459e915" providerId="ADAL" clId="{3DF42C44-365F-4769-897E-208499BD6744}" dt="2024-04-09T06:45:05.773" v="0" actId="47"/>
        <pc:sldMkLst>
          <pc:docMk/>
          <pc:sldMk cId="3441686955" sldId="1548"/>
        </pc:sldMkLst>
      </pc:sldChg>
      <pc:sldChg chg="del">
        <pc:chgData name="Meyer Eliane" userId="0292f837-96c1-43b2-97f9-da326459e915" providerId="ADAL" clId="{3DF42C44-365F-4769-897E-208499BD6744}" dt="2024-04-09T06:45:05.773" v="0" actId="47"/>
        <pc:sldMkLst>
          <pc:docMk/>
          <pc:sldMk cId="2894301756" sldId="1549"/>
        </pc:sldMkLst>
      </pc:sldChg>
      <pc:sldChg chg="del">
        <pc:chgData name="Meyer Eliane" userId="0292f837-96c1-43b2-97f9-da326459e915" providerId="ADAL" clId="{3DF42C44-365F-4769-897E-208499BD6744}" dt="2024-04-09T06:45:05.773" v="0" actId="47"/>
        <pc:sldMkLst>
          <pc:docMk/>
          <pc:sldMk cId="4191697730" sldId="1551"/>
        </pc:sldMkLst>
      </pc:sldChg>
      <pc:sldChg chg="del">
        <pc:chgData name="Meyer Eliane" userId="0292f837-96c1-43b2-97f9-da326459e915" providerId="ADAL" clId="{3DF42C44-365F-4769-897E-208499BD6744}" dt="2024-04-09T06:45:05.773" v="0" actId="47"/>
        <pc:sldMkLst>
          <pc:docMk/>
          <pc:sldMk cId="1344252824" sldId="1552"/>
        </pc:sldMkLst>
      </pc:sldChg>
      <pc:sldChg chg="del">
        <pc:chgData name="Meyer Eliane" userId="0292f837-96c1-43b2-97f9-da326459e915" providerId="ADAL" clId="{3DF42C44-365F-4769-897E-208499BD6744}" dt="2024-04-09T06:45:05.773" v="0" actId="47"/>
        <pc:sldMkLst>
          <pc:docMk/>
          <pc:sldMk cId="3396837520" sldId="1555"/>
        </pc:sldMkLst>
      </pc:sldChg>
      <pc:sldChg chg="del">
        <pc:chgData name="Meyer Eliane" userId="0292f837-96c1-43b2-97f9-da326459e915" providerId="ADAL" clId="{3DF42C44-365F-4769-897E-208499BD6744}" dt="2024-04-09T06:45:05.773" v="0" actId="47"/>
        <pc:sldMkLst>
          <pc:docMk/>
          <pc:sldMk cId="3521720963" sldId="1556"/>
        </pc:sldMkLst>
      </pc:sldChg>
      <pc:sldChg chg="del">
        <pc:chgData name="Meyer Eliane" userId="0292f837-96c1-43b2-97f9-da326459e915" providerId="ADAL" clId="{3DF42C44-365F-4769-897E-208499BD6744}" dt="2024-04-09T06:45:05.773" v="0" actId="47"/>
        <pc:sldMkLst>
          <pc:docMk/>
          <pc:sldMk cId="2622619164" sldId="1560"/>
        </pc:sldMkLst>
      </pc:sldChg>
      <pc:sldChg chg="del">
        <pc:chgData name="Meyer Eliane" userId="0292f837-96c1-43b2-97f9-da326459e915" providerId="ADAL" clId="{3DF42C44-365F-4769-897E-208499BD6744}" dt="2024-04-09T06:45:05.773" v="0" actId="47"/>
        <pc:sldMkLst>
          <pc:docMk/>
          <pc:sldMk cId="3131569827" sldId="1563"/>
        </pc:sldMkLst>
      </pc:sldChg>
      <pc:sldChg chg="del">
        <pc:chgData name="Meyer Eliane" userId="0292f837-96c1-43b2-97f9-da326459e915" providerId="ADAL" clId="{3DF42C44-365F-4769-897E-208499BD6744}" dt="2024-04-09T06:45:05.773" v="0" actId="47"/>
        <pc:sldMkLst>
          <pc:docMk/>
          <pc:sldMk cId="1914704991" sldId="1564"/>
        </pc:sldMkLst>
      </pc:sldChg>
      <pc:sldChg chg="del">
        <pc:chgData name="Meyer Eliane" userId="0292f837-96c1-43b2-97f9-da326459e915" providerId="ADAL" clId="{3DF42C44-365F-4769-897E-208499BD6744}" dt="2024-04-09T06:45:05.773" v="0" actId="47"/>
        <pc:sldMkLst>
          <pc:docMk/>
          <pc:sldMk cId="2544509825" sldId="1566"/>
        </pc:sldMkLst>
      </pc:sldChg>
      <pc:sldChg chg="del">
        <pc:chgData name="Meyer Eliane" userId="0292f837-96c1-43b2-97f9-da326459e915" providerId="ADAL" clId="{3DF42C44-365F-4769-897E-208499BD6744}" dt="2024-04-09T06:45:05.773" v="0" actId="47"/>
        <pc:sldMkLst>
          <pc:docMk/>
          <pc:sldMk cId="2335744484" sldId="1567"/>
        </pc:sldMkLst>
      </pc:sldChg>
      <pc:sldChg chg="del">
        <pc:chgData name="Meyer Eliane" userId="0292f837-96c1-43b2-97f9-da326459e915" providerId="ADAL" clId="{3DF42C44-365F-4769-897E-208499BD6744}" dt="2024-04-09T06:45:05.773" v="0" actId="47"/>
        <pc:sldMkLst>
          <pc:docMk/>
          <pc:sldMk cId="3573349610" sldId="1568"/>
        </pc:sldMkLst>
      </pc:sldChg>
      <pc:sldChg chg="del">
        <pc:chgData name="Meyer Eliane" userId="0292f837-96c1-43b2-97f9-da326459e915" providerId="ADAL" clId="{3DF42C44-365F-4769-897E-208499BD6744}" dt="2024-04-09T06:45:05.773" v="0" actId="47"/>
        <pc:sldMkLst>
          <pc:docMk/>
          <pc:sldMk cId="1716383278" sldId="1569"/>
        </pc:sldMkLst>
      </pc:sldChg>
      <pc:sldChg chg="del">
        <pc:chgData name="Meyer Eliane" userId="0292f837-96c1-43b2-97f9-da326459e915" providerId="ADAL" clId="{3DF42C44-365F-4769-897E-208499BD6744}" dt="2024-04-09T06:45:05.773" v="0" actId="47"/>
        <pc:sldMkLst>
          <pc:docMk/>
          <pc:sldMk cId="2853341858" sldId="1570"/>
        </pc:sldMkLst>
      </pc:sldChg>
      <pc:sldChg chg="del">
        <pc:chgData name="Meyer Eliane" userId="0292f837-96c1-43b2-97f9-da326459e915" providerId="ADAL" clId="{3DF42C44-365F-4769-897E-208499BD6744}" dt="2024-04-09T06:45:05.773" v="0" actId="47"/>
        <pc:sldMkLst>
          <pc:docMk/>
          <pc:sldMk cId="198153532" sldId="1571"/>
        </pc:sldMkLst>
      </pc:sldChg>
      <pc:sldChg chg="del">
        <pc:chgData name="Meyer Eliane" userId="0292f837-96c1-43b2-97f9-da326459e915" providerId="ADAL" clId="{3DF42C44-365F-4769-897E-208499BD6744}" dt="2024-04-09T06:45:27.692" v="12" actId="47"/>
        <pc:sldMkLst>
          <pc:docMk/>
          <pc:sldMk cId="18793941" sldId="1573"/>
        </pc:sldMkLst>
      </pc:sldChg>
      <pc:sldChg chg="del">
        <pc:chgData name="Meyer Eliane" userId="0292f837-96c1-43b2-97f9-da326459e915" providerId="ADAL" clId="{3DF42C44-365F-4769-897E-208499BD6744}" dt="2024-04-09T06:45:05.773" v="0" actId="47"/>
        <pc:sldMkLst>
          <pc:docMk/>
          <pc:sldMk cId="2465858748" sldId="1574"/>
        </pc:sldMkLst>
      </pc:sldChg>
      <pc:sldChg chg="del">
        <pc:chgData name="Meyer Eliane" userId="0292f837-96c1-43b2-97f9-da326459e915" providerId="ADAL" clId="{3DF42C44-365F-4769-897E-208499BD6744}" dt="2024-04-09T06:45:05.773" v="0" actId="47"/>
        <pc:sldMkLst>
          <pc:docMk/>
          <pc:sldMk cId="1515176603" sldId="1575"/>
        </pc:sldMkLst>
      </pc:sldChg>
      <pc:sldChg chg="del">
        <pc:chgData name="Meyer Eliane" userId="0292f837-96c1-43b2-97f9-da326459e915" providerId="ADAL" clId="{3DF42C44-365F-4769-897E-208499BD6744}" dt="2024-04-09T06:45:05.773" v="0" actId="47"/>
        <pc:sldMkLst>
          <pc:docMk/>
          <pc:sldMk cId="2495294806" sldId="1576"/>
        </pc:sldMkLst>
      </pc:sldChg>
      <pc:sldChg chg="del">
        <pc:chgData name="Meyer Eliane" userId="0292f837-96c1-43b2-97f9-da326459e915" providerId="ADAL" clId="{3DF42C44-365F-4769-897E-208499BD6744}" dt="2024-04-09T06:45:05.773" v="0" actId="47"/>
        <pc:sldMkLst>
          <pc:docMk/>
          <pc:sldMk cId="3643147242" sldId="1577"/>
        </pc:sldMkLst>
      </pc:sldChg>
      <pc:sldChg chg="del">
        <pc:chgData name="Meyer Eliane" userId="0292f837-96c1-43b2-97f9-da326459e915" providerId="ADAL" clId="{3DF42C44-365F-4769-897E-208499BD6744}" dt="2024-04-09T06:45:05.773" v="0" actId="47"/>
        <pc:sldMkLst>
          <pc:docMk/>
          <pc:sldMk cId="1692319038" sldId="1578"/>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765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sz="quarter" idx="1"/>
          </p:nvPr>
        </p:nvSpPr>
        <p:spPr>
          <a:xfrm>
            <a:off x="3848645" y="0"/>
            <a:ext cx="2944283" cy="497658"/>
          </a:xfrm>
          <a:prstGeom prst="rect">
            <a:avLst/>
          </a:prstGeom>
        </p:spPr>
        <p:txBody>
          <a:bodyPr vert="horz" lIns="91440" tIns="45720" rIns="91440" bIns="45720" rtlCol="0"/>
          <a:lstStyle>
            <a:lvl1pPr algn="r">
              <a:defRPr sz="1200"/>
            </a:lvl1pPr>
          </a:lstStyle>
          <a:p>
            <a:fld id="{289C0340-9269-4A47-97CC-58C9B3A12DF2}" type="datetimeFigureOut">
              <a:rPr lang="de-DE" smtClean="0"/>
              <a:t>09.04.2024</a:t>
            </a:fld>
            <a:endParaRPr lang="de-DE"/>
          </a:p>
        </p:txBody>
      </p:sp>
      <p:sp>
        <p:nvSpPr>
          <p:cNvPr id="4" name="Fußzeilenplatzhalter 3"/>
          <p:cNvSpPr>
            <a:spLocks noGrp="1"/>
          </p:cNvSpPr>
          <p:nvPr>
            <p:ph type="ftr" sz="quarter" idx="2"/>
          </p:nvPr>
        </p:nvSpPr>
        <p:spPr>
          <a:xfrm>
            <a:off x="0" y="9421044"/>
            <a:ext cx="2944283" cy="497656"/>
          </a:xfrm>
          <a:prstGeom prst="rect">
            <a:avLst/>
          </a:prstGeom>
        </p:spPr>
        <p:txBody>
          <a:bodyPr vert="horz" lIns="91440" tIns="45720" rIns="91440" bIns="45720" rtlCol="0" anchor="b"/>
          <a:lstStyle>
            <a:lvl1pPr algn="l">
              <a:defRPr sz="1200"/>
            </a:lvl1pPr>
          </a:lstStyle>
          <a:p>
            <a:endParaRPr lang="de-DE"/>
          </a:p>
        </p:txBody>
      </p:sp>
      <p:sp>
        <p:nvSpPr>
          <p:cNvPr id="5" name="Foliennummernplatzhalter 4"/>
          <p:cNvSpPr>
            <a:spLocks noGrp="1"/>
          </p:cNvSpPr>
          <p:nvPr>
            <p:ph type="sldNum" sz="quarter" idx="3"/>
          </p:nvPr>
        </p:nvSpPr>
        <p:spPr>
          <a:xfrm>
            <a:off x="3848645" y="9421044"/>
            <a:ext cx="2944283" cy="497656"/>
          </a:xfrm>
          <a:prstGeom prst="rect">
            <a:avLst/>
          </a:prstGeom>
        </p:spPr>
        <p:txBody>
          <a:bodyPr vert="horz" lIns="91440" tIns="45720" rIns="91440" bIns="45720" rtlCol="0" anchor="b"/>
          <a:lstStyle>
            <a:lvl1pPr algn="r">
              <a:defRPr sz="1200"/>
            </a:lvl1pPr>
          </a:lstStyle>
          <a:p>
            <a:fld id="{B09B78BB-9BCE-4370-8DEF-8F6A778FEEB6}" type="slidenum">
              <a:rPr lang="de-DE" smtClean="0"/>
              <a:t>‹Nr.›</a:t>
            </a:fld>
            <a:endParaRPr lang="de-DE"/>
          </a:p>
        </p:txBody>
      </p:sp>
    </p:spTree>
    <p:extLst>
      <p:ext uri="{BB962C8B-B14F-4D97-AF65-F5344CB8AC3E}">
        <p14:creationId xmlns:p14="http://schemas.microsoft.com/office/powerpoint/2010/main" val="3169580666"/>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44283" cy="49765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48645" y="0"/>
            <a:ext cx="2944283" cy="497658"/>
          </a:xfrm>
          <a:prstGeom prst="rect">
            <a:avLst/>
          </a:prstGeom>
        </p:spPr>
        <p:txBody>
          <a:bodyPr vert="horz" lIns="91440" tIns="45720" rIns="91440" bIns="45720" rtlCol="0"/>
          <a:lstStyle>
            <a:lvl1pPr algn="r">
              <a:defRPr sz="1200"/>
            </a:lvl1pPr>
          </a:lstStyle>
          <a:p>
            <a:fld id="{EBBF93E1-06A7-404E-9578-CF97B664CA65}" type="datetimeFigureOut">
              <a:rPr lang="de-DE" smtClean="0"/>
              <a:t>09.04.2024</a:t>
            </a:fld>
            <a:endParaRPr lang="de-DE"/>
          </a:p>
        </p:txBody>
      </p:sp>
      <p:sp>
        <p:nvSpPr>
          <p:cNvPr id="4" name="Folienbildplatzhalter 3"/>
          <p:cNvSpPr>
            <a:spLocks noGrp="1" noRot="1" noChangeAspect="1"/>
          </p:cNvSpPr>
          <p:nvPr>
            <p:ph type="sldImg" idx="2"/>
          </p:nvPr>
        </p:nvSpPr>
        <p:spPr>
          <a:xfrm>
            <a:off x="422275" y="1239838"/>
            <a:ext cx="5949950" cy="3348037"/>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79450" y="4773374"/>
            <a:ext cx="5435600" cy="3905488"/>
          </a:xfrm>
          <a:prstGeom prst="rect">
            <a:avLst/>
          </a:prstGeom>
        </p:spPr>
        <p:txBody>
          <a:bodyPr vert="horz" lIns="91440" tIns="45720" rIns="91440" bIns="45720" rtlCol="0"/>
          <a:lstStyle/>
          <a:p>
            <a:r>
              <a:rPr lang="de-DE"/>
              <a:t>Mastertextformat bearbeiten
Zweite Ebene
Dritte Ebene
Vierte Ebene
Fünfte Ebene</a:t>
            </a:r>
          </a:p>
        </p:txBody>
      </p:sp>
      <p:sp>
        <p:nvSpPr>
          <p:cNvPr id="6" name="Fußzeilenplatzhalter 5"/>
          <p:cNvSpPr>
            <a:spLocks noGrp="1"/>
          </p:cNvSpPr>
          <p:nvPr>
            <p:ph type="ftr" sz="quarter" idx="4"/>
          </p:nvPr>
        </p:nvSpPr>
        <p:spPr>
          <a:xfrm>
            <a:off x="0" y="9421044"/>
            <a:ext cx="2944283" cy="497656"/>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48645" y="9421044"/>
            <a:ext cx="2944283" cy="497656"/>
          </a:xfrm>
          <a:prstGeom prst="rect">
            <a:avLst/>
          </a:prstGeom>
        </p:spPr>
        <p:txBody>
          <a:bodyPr vert="horz" lIns="91440" tIns="45720" rIns="91440" bIns="45720" rtlCol="0" anchor="b"/>
          <a:lstStyle>
            <a:lvl1pPr algn="r">
              <a:defRPr sz="1200"/>
            </a:lvl1pPr>
          </a:lstStyle>
          <a:p>
            <a:fld id="{D792CAA3-BAEF-0F40-8D64-3630C98CC1B3}" type="slidenum">
              <a:rPr lang="de-DE" smtClean="0"/>
              <a:t>‹Nr.›</a:t>
            </a:fld>
            <a:endParaRPr lang="de-DE"/>
          </a:p>
        </p:txBody>
      </p:sp>
    </p:spTree>
    <p:extLst>
      <p:ext uri="{BB962C8B-B14F-4D97-AF65-F5344CB8AC3E}">
        <p14:creationId xmlns:p14="http://schemas.microsoft.com/office/powerpoint/2010/main" val="3175338046"/>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pPr marL="0" indent="0">
              <a:buNone/>
            </a:pPr>
            <a:r>
              <a:rPr lang="de-CH" b="1"/>
              <a:t>Registrierungsprozess:</a:t>
            </a:r>
          </a:p>
          <a:p>
            <a:pPr marL="0" indent="0">
              <a:buNone/>
            </a:pPr>
            <a:endParaRPr lang="de-CH"/>
          </a:p>
          <a:p>
            <a:pPr marL="180975" marR="0" indent="-180975" algn="l" defTabSz="914400" rtl="0" eaLnBrk="0" fontAlgn="base" latinLnBrk="0" hangingPunct="0">
              <a:lnSpc>
                <a:spcPct val="100000"/>
              </a:lnSpc>
              <a:spcBef>
                <a:spcPct val="30000"/>
              </a:spcBef>
              <a:spcAft>
                <a:spcPct val="0"/>
              </a:spcAft>
              <a:buClrTx/>
              <a:buSzTx/>
              <a:buFontTx/>
              <a:buChar char="-"/>
              <a:tabLst/>
              <a:defRPr/>
            </a:pPr>
            <a:r>
              <a:rPr lang="de-CH" sz="1100" baseline="0">
                <a:solidFill>
                  <a:srgbClr val="868689"/>
                </a:solidFill>
              </a:rPr>
              <a:t>(Haupt)Nutzer der Firma gibt seine Kontaktdaten auf Anmeldeseite ein und erhält sofort den Demozugang freigeschaltet.</a:t>
            </a:r>
          </a:p>
          <a:p>
            <a:pPr marL="180975" marR="0" indent="-180975" algn="l" defTabSz="914400" rtl="0" eaLnBrk="0" fontAlgn="base" latinLnBrk="0" hangingPunct="0">
              <a:lnSpc>
                <a:spcPct val="100000"/>
              </a:lnSpc>
              <a:spcBef>
                <a:spcPct val="30000"/>
              </a:spcBef>
              <a:spcAft>
                <a:spcPct val="0"/>
              </a:spcAft>
              <a:buClrTx/>
              <a:buSzTx/>
              <a:buFontTx/>
              <a:buChar char="-"/>
              <a:tabLst/>
              <a:defRPr/>
            </a:pPr>
            <a:r>
              <a:rPr lang="de-CH" sz="1100" baseline="0">
                <a:solidFill>
                  <a:srgbClr val="868689"/>
                </a:solidFill>
              </a:rPr>
              <a:t>Anschliessend gibt er</a:t>
            </a:r>
            <a:r>
              <a:rPr lang="de-CH" baseline="0"/>
              <a:t> Firmendaten ein (Abgleich mit CEFIX) und beantwortet KYC- und GWG-spezifische Fragen </a:t>
            </a:r>
            <a:r>
              <a:rPr lang="de-CH" sz="1100" baseline="0">
                <a:solidFill>
                  <a:schemeClr val="tx1"/>
                </a:solidFill>
                <a:latin typeface="Arial"/>
                <a:cs typeface="Arial"/>
              </a:rPr>
              <a:t>→</a:t>
            </a:r>
            <a:r>
              <a:rPr lang="de-CH" baseline="0"/>
              <a:t> Dauer ca. 2 – 3 Minuten. Im Hintergrund prüft </a:t>
            </a:r>
            <a:r>
              <a:rPr lang="de-CH" baseline="0" err="1"/>
              <a:t>amnis</a:t>
            </a:r>
            <a:r>
              <a:rPr lang="de-CH" baseline="0"/>
              <a:t> automatisiert die Angaben und gibt den Identifikationsschritt frei</a:t>
            </a:r>
          </a:p>
          <a:p>
            <a:pPr marL="180975" indent="-180975">
              <a:buFontTx/>
              <a:buChar char="-"/>
            </a:pPr>
            <a:r>
              <a:rPr lang="de-CH" baseline="0"/>
              <a:t>Nutzer liest seine Ausweiskopie (ID, Pass, Führerausweis) ein und nimmt eine Gesichtserkennung via Kamera auf Desktop oder Mobile vor. Nach erfolgreicher Prüfung wird er auf die digitale Signatur geleitet und bestätigt die Anmeldung mit seiner Unterschrift. Achtung: Unterschrift muss gemäss HR-Eintrag (Einzel oder Kollektiv) erfolgen. Alle Unterzeichner müssen den Identifikationsprozess mit Ausweiskopie und Gesichtserkennung durchführen.</a:t>
            </a:r>
          </a:p>
          <a:p>
            <a:pPr marL="180975" indent="-180975">
              <a:buFontTx/>
              <a:buChar char="-"/>
            </a:pPr>
            <a:r>
              <a:rPr lang="de-CH" baseline="0"/>
              <a:t>Im Anschluss ist das Onboarding abgeschlossen und der (Haupt)Nutzer kann Währungswechsel, Zahlungen, Aufschaltung weiterer Währungskonten vornehmen oder auch weitere Nutzer berechtigen.</a:t>
            </a:r>
          </a:p>
          <a:p>
            <a:pPr marL="180975" indent="-180975">
              <a:buFontTx/>
              <a:buChar char="-"/>
            </a:pPr>
            <a:r>
              <a:rPr lang="de-CH" baseline="0"/>
              <a:t>Der gesamte Vorgang findet papierlos statt und ist FINMA-konform abgewickelt worden</a:t>
            </a:r>
          </a:p>
          <a:p>
            <a:pPr marL="180975" indent="-180975">
              <a:buFontTx/>
              <a:buChar char="-"/>
            </a:pPr>
            <a:r>
              <a:rPr lang="de-CH" baseline="0"/>
              <a:t>Der Kunde druckt den Vertrag aus, ergänzt die fehlenden Angaben und setzt eine/mehrere rechtsgültige Unterschrift auf die Vertragsdokumente.</a:t>
            </a:r>
          </a:p>
          <a:p>
            <a:pPr marL="180975" indent="-180975">
              <a:buFontTx/>
              <a:buChar char="-"/>
            </a:pPr>
            <a:r>
              <a:rPr lang="de-CH" baseline="0"/>
              <a:t>Danach Vertrag einscannen und per E-Mail an </a:t>
            </a:r>
            <a:r>
              <a:rPr lang="de-CH" baseline="0" err="1"/>
              <a:t>amnis</a:t>
            </a:r>
            <a:r>
              <a:rPr lang="de-CH" baseline="0"/>
              <a:t> retournieren (Achtung: </a:t>
            </a:r>
            <a:r>
              <a:rPr lang="de-CH" b="1" u="sng" baseline="0"/>
              <a:t>nicht</a:t>
            </a:r>
            <a:r>
              <a:rPr lang="de-CH" baseline="0"/>
              <a:t> an die WIR Bank). Alternativ können die Dokumente auch per Post zurückgeschickt werden.</a:t>
            </a:r>
          </a:p>
          <a:p>
            <a:pPr marL="180975" indent="-180975">
              <a:buFontTx/>
              <a:buChar char="-"/>
            </a:pPr>
            <a:r>
              <a:rPr lang="de-CH" baseline="0"/>
              <a:t>Nach Erhalt erfolgt KYC- und GWG-Prüfung bei </a:t>
            </a:r>
            <a:r>
              <a:rPr lang="de-CH" baseline="0" err="1"/>
              <a:t>amnis</a:t>
            </a:r>
            <a:r>
              <a:rPr lang="de-CH" baseline="0"/>
              <a:t> und die Bank wird informiert, die Identifikation des Kunden vorzunehmen.</a:t>
            </a:r>
          </a:p>
          <a:p>
            <a:pPr marL="180975" indent="-180975">
              <a:buFontTx/>
              <a:buChar char="-"/>
            </a:pPr>
            <a:r>
              <a:rPr lang="de-CH" baseline="0"/>
              <a:t>WIR BZ Kundendienst ergänzt die Angaben im </a:t>
            </a:r>
            <a:r>
              <a:rPr lang="de-CH" baseline="0" err="1"/>
              <a:t>amnis</a:t>
            </a:r>
            <a:r>
              <a:rPr lang="de-CH" baseline="0"/>
              <a:t> Admin-Tool und bestätigt die Aufschaltung an </a:t>
            </a:r>
            <a:r>
              <a:rPr lang="de-CH" baseline="0" err="1"/>
              <a:t>amnis</a:t>
            </a:r>
            <a:r>
              <a:rPr lang="de-CH" baseline="0"/>
              <a:t>.</a:t>
            </a:r>
          </a:p>
          <a:p>
            <a:pPr marL="180975" indent="-180975">
              <a:buFontTx/>
              <a:buChar char="-"/>
            </a:pPr>
            <a:r>
              <a:rPr lang="de-CH" baseline="0" err="1"/>
              <a:t>amnis</a:t>
            </a:r>
            <a:r>
              <a:rPr lang="de-CH" baseline="0"/>
              <a:t> bestätigt den Abschluss der Registration und sendet dem Kunden eine Freigabe-Email zu.</a:t>
            </a:r>
          </a:p>
          <a:p>
            <a:pPr marL="0" indent="0">
              <a:buFontTx/>
              <a:buNone/>
            </a:pPr>
            <a:endParaRPr lang="de-CH" baseline="0"/>
          </a:p>
          <a:p>
            <a:pPr marL="0" indent="0">
              <a:buFontTx/>
              <a:buNone/>
            </a:pPr>
            <a:r>
              <a:rPr lang="de-CH" baseline="0"/>
              <a:t>Zwischen Onlineregistration und Freigabebestätigung liegen (je nachdem wie schnell die Rücksendung des Kunden erfolgt) ca. 1 – 2  Stunden im Idealfall bis mehrere Tage. Im Normalfall wird die Aufschaltung mit 2 Tagen gerechnet</a:t>
            </a:r>
            <a:endParaRPr lang="de-CH"/>
          </a:p>
          <a:p>
            <a:endParaRPr lang="de-CH"/>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DDC4312-1431-452E-B832-211BA763EEA6}" type="slidenum">
              <a:rPr kumimoji="0" lang="de-CH"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CH"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295306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CH"/>
          </a:p>
        </p:txBody>
      </p:sp>
      <p:sp>
        <p:nvSpPr>
          <p:cNvPr id="4" name="Foliennummernplatzhalt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792CAA3-BAEF-0F40-8D64-3630C98CC1B3}" type="slidenum">
              <a:rPr kumimoji="0" lang="de-D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5640826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2.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el">
    <p:spTree>
      <p:nvGrpSpPr>
        <p:cNvPr id="1" name=""/>
        <p:cNvGrpSpPr/>
        <p:nvPr/>
      </p:nvGrpSpPr>
      <p:grpSpPr>
        <a:xfrm>
          <a:off x="0" y="0"/>
          <a:ext cx="0" cy="0"/>
          <a:chOff x="0" y="0"/>
          <a:chExt cx="0" cy="0"/>
        </a:xfrm>
      </p:grpSpPr>
      <p:sp>
        <p:nvSpPr>
          <p:cNvPr id="17" name="Bildplatzhalter 2">
            <a:extLst>
              <a:ext uri="{FF2B5EF4-FFF2-40B4-BE49-F238E27FC236}">
                <a16:creationId xmlns:a16="http://schemas.microsoft.com/office/drawing/2014/main" id="{F964F875-FA3A-3A45-96FC-9A71E123FC76}"/>
              </a:ext>
            </a:extLst>
          </p:cNvPr>
          <p:cNvSpPr>
            <a:spLocks noGrp="1"/>
          </p:cNvSpPr>
          <p:nvPr>
            <p:ph type="pic" sz="quarter" idx="18"/>
          </p:nvPr>
        </p:nvSpPr>
        <p:spPr>
          <a:xfrm>
            <a:off x="0" y="0"/>
            <a:ext cx="12192000" cy="6858000"/>
          </a:xfrm>
          <a:solidFill>
            <a:schemeClr val="bg2"/>
          </a:solidFill>
        </p:spPr>
        <p:txBody>
          <a:bodyPr/>
          <a:lstStyle>
            <a:lvl1pPr>
              <a:defRPr sz="500">
                <a:latin typeface="+mn-lt"/>
              </a:defRPr>
            </a:lvl1pPr>
          </a:lstStyle>
          <a:p>
            <a:r>
              <a:rPr lang="de-DE"/>
              <a:t>Bild durch Klicken auf Symbol hinzufügen</a:t>
            </a:r>
            <a:endParaRPr lang="de-CH"/>
          </a:p>
        </p:txBody>
      </p:sp>
      <p:sp>
        <p:nvSpPr>
          <p:cNvPr id="19" name="Bildplatzhalter 2">
            <a:extLst>
              <a:ext uri="{FF2B5EF4-FFF2-40B4-BE49-F238E27FC236}">
                <a16:creationId xmlns:a16="http://schemas.microsoft.com/office/drawing/2014/main" id="{354C8B89-4450-A846-9899-B836550EAC1D}"/>
              </a:ext>
            </a:extLst>
          </p:cNvPr>
          <p:cNvSpPr>
            <a:spLocks noGrp="1"/>
          </p:cNvSpPr>
          <p:nvPr>
            <p:ph type="pic" sz="quarter" idx="19"/>
          </p:nvPr>
        </p:nvSpPr>
        <p:spPr>
          <a:xfrm>
            <a:off x="0" y="2132856"/>
            <a:ext cx="3234492" cy="4725144"/>
          </a:xfrm>
          <a:blipFill>
            <a:blip r:embed="rId2"/>
            <a:stretch>
              <a:fillRect/>
            </a:stretch>
          </a:blipFill>
        </p:spPr>
        <p:txBody>
          <a:bodyPr/>
          <a:lstStyle>
            <a:lvl1pPr>
              <a:defRPr sz="500">
                <a:latin typeface="+mn-lt"/>
              </a:defRPr>
            </a:lvl1pPr>
          </a:lstStyle>
          <a:p>
            <a:r>
              <a:rPr lang="de-DE"/>
              <a:t>Bild durch Klicken auf Symbol hinzufügen</a:t>
            </a:r>
            <a:endParaRPr lang="de-CH"/>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1559496" y="5485644"/>
            <a:ext cx="3458346" cy="422405"/>
          </a:xfrm>
          <a:solidFill>
            <a:schemeClr val="bg1"/>
          </a:solidFill>
        </p:spPr>
        <p:txBody>
          <a:bodyPr wrap="none" lIns="144000" tIns="72000" rIns="144000" bIns="72000" anchor="t">
            <a:spAutoFit/>
          </a:bodyPr>
          <a:lstStyle>
            <a:lvl1pPr>
              <a:spcAft>
                <a:spcPts val="400"/>
              </a:spcAft>
              <a:defRPr>
                <a:solidFill>
                  <a:schemeClr val="tx2"/>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grpSp>
        <p:nvGrpSpPr>
          <p:cNvPr id="9" name="Gruppieren 8">
            <a:extLst>
              <a:ext uri="{FF2B5EF4-FFF2-40B4-BE49-F238E27FC236}">
                <a16:creationId xmlns:a16="http://schemas.microsoft.com/office/drawing/2014/main" id="{7A8B8ACB-152C-DC42-B6B6-96380B71C735}"/>
              </a:ext>
            </a:extLst>
          </p:cNvPr>
          <p:cNvGrpSpPr>
            <a:grpSpLocks/>
          </p:cNvGrpSpPr>
          <p:nvPr userDrawn="1"/>
        </p:nvGrpSpPr>
        <p:grpSpPr bwMode="auto">
          <a:xfrm>
            <a:off x="1" y="575692"/>
            <a:ext cx="1847527" cy="798612"/>
            <a:chOff x="1060156" y="1339914"/>
            <a:chExt cx="4435100" cy="1917364"/>
          </a:xfrm>
        </p:grpSpPr>
        <p:pic>
          <p:nvPicPr>
            <p:cNvPr id="14" name="Picture 11" descr="tile_paper_medgray">
              <a:extLst>
                <a:ext uri="{FF2B5EF4-FFF2-40B4-BE49-F238E27FC236}">
                  <a16:creationId xmlns:a16="http://schemas.microsoft.com/office/drawing/2014/main" id="{0BB648D4-981E-8C4C-A82F-3EDB42528CE7}"/>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5" name="Grafik 5">
              <a:extLst>
                <a:ext uri="{FF2B5EF4-FFF2-40B4-BE49-F238E27FC236}">
                  <a16:creationId xmlns:a16="http://schemas.microsoft.com/office/drawing/2014/main" id="{2AF2A804-E102-EA44-9435-D8DC907AB64B}"/>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2238" y="1673424"/>
              <a:ext cx="2780970" cy="1258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 name="Textplatzhalter 5">
            <a:extLst>
              <a:ext uri="{FF2B5EF4-FFF2-40B4-BE49-F238E27FC236}">
                <a16:creationId xmlns:a16="http://schemas.microsoft.com/office/drawing/2014/main" id="{7B0FE791-235F-3A46-9170-8B6E4AE26580}"/>
              </a:ext>
            </a:extLst>
          </p:cNvPr>
          <p:cNvSpPr>
            <a:spLocks noGrp="1"/>
          </p:cNvSpPr>
          <p:nvPr>
            <p:ph type="body" sz="quarter" idx="20" hasCustomPrompt="1"/>
          </p:nvPr>
        </p:nvSpPr>
        <p:spPr>
          <a:xfrm>
            <a:off x="1559496" y="4005685"/>
            <a:ext cx="4309074" cy="1326105"/>
          </a:xfrm>
          <a:solidFill>
            <a:schemeClr val="accent1"/>
          </a:solidFill>
        </p:spPr>
        <p:txBody>
          <a:bodyPr wrap="none" lIns="144000" tIns="108000" rIns="216000" bIns="108000" anchor="b">
            <a:spAutoFit/>
          </a:bodyPr>
          <a:lstStyle>
            <a:lvl1pPr>
              <a:lnSpc>
                <a:spcPct val="100000"/>
              </a:lnSpc>
              <a:spcBef>
                <a:spcPts val="0"/>
              </a:spcBef>
              <a:spcAft>
                <a:spcPts val="0"/>
              </a:spcAft>
              <a:defRPr sz="3600" b="1" i="0" cap="none" baseline="0">
                <a:ln>
                  <a:noFill/>
                </a:ln>
                <a:solidFill>
                  <a:schemeClr val="bg1"/>
                </a:solidFill>
                <a:latin typeface="+mj-lt"/>
              </a:defRPr>
            </a:lvl1pPr>
            <a:lvl2pPr marL="0" indent="0">
              <a:lnSpc>
                <a:spcPct val="100000"/>
              </a:lnSpc>
              <a:spcBef>
                <a:spcPts val="0"/>
              </a:spcBef>
              <a:spcAft>
                <a:spcPts val="0"/>
              </a:spcAft>
              <a:buNone/>
              <a:defRPr sz="2800" b="1" i="0" cap="all" baseline="0">
                <a:ln>
                  <a:noFill/>
                </a:ln>
                <a:solidFill>
                  <a:schemeClr val="bg1"/>
                </a:solidFill>
                <a:highlight>
                  <a:srgbClr val="008080"/>
                </a:highlight>
                <a:latin typeface="+mj-lt"/>
              </a:defRPr>
            </a:lvl2pPr>
            <a:lvl3pPr>
              <a:lnSpc>
                <a:spcPct val="100000"/>
              </a:lnSpc>
              <a:spcBef>
                <a:spcPts val="0"/>
              </a:spcBef>
              <a:spcAft>
                <a:spcPts val="0"/>
              </a:spcAft>
              <a:defRPr sz="2800" b="1" i="0" cap="all" baseline="0">
                <a:ln>
                  <a:noFill/>
                </a:ln>
                <a:solidFill>
                  <a:schemeClr val="bg1"/>
                </a:solidFill>
                <a:highlight>
                  <a:srgbClr val="008080"/>
                </a:highlight>
                <a:latin typeface="+mj-lt"/>
              </a:defRPr>
            </a:lvl3pPr>
            <a:lvl4pPr>
              <a:lnSpc>
                <a:spcPct val="100000"/>
              </a:lnSpc>
              <a:spcBef>
                <a:spcPts val="0"/>
              </a:spcBef>
              <a:spcAft>
                <a:spcPts val="0"/>
              </a:spcAft>
              <a:defRPr sz="2800" b="1" i="0" cap="all" baseline="0">
                <a:ln>
                  <a:noFill/>
                </a:ln>
                <a:solidFill>
                  <a:schemeClr val="bg1"/>
                </a:solidFill>
                <a:highlight>
                  <a:srgbClr val="008080"/>
                </a:highlight>
                <a:latin typeface="+mj-lt"/>
              </a:defRPr>
            </a:lvl4pPr>
            <a:lvl5pPr>
              <a:lnSpc>
                <a:spcPct val="100000"/>
              </a:lnSpc>
              <a:spcBef>
                <a:spcPts val="0"/>
              </a:spcBef>
              <a:spcAft>
                <a:spcPts val="0"/>
              </a:spcAft>
              <a:defRPr sz="2800" b="1" i="0" cap="all" baseline="0">
                <a:ln>
                  <a:noFill/>
                </a:ln>
                <a:solidFill>
                  <a:schemeClr val="bg1"/>
                </a:solidFill>
                <a:highlight>
                  <a:srgbClr val="008080"/>
                </a:highlight>
                <a:latin typeface="+mj-lt"/>
              </a:defRPr>
            </a:lvl5pPr>
          </a:lstStyle>
          <a:p>
            <a:pPr lvl="0"/>
            <a:r>
              <a:rPr lang="de-DE"/>
              <a:t>Mastertextformat </a:t>
            </a:r>
            <a:br>
              <a:rPr lang="de-DE"/>
            </a:br>
            <a:r>
              <a:rPr lang="de-DE"/>
              <a:t>bearbeiten</a:t>
            </a:r>
          </a:p>
        </p:txBody>
      </p:sp>
      <p:sp>
        <p:nvSpPr>
          <p:cNvPr id="24" name="Textplatzhalter 2">
            <a:extLst>
              <a:ext uri="{FF2B5EF4-FFF2-40B4-BE49-F238E27FC236}">
                <a16:creationId xmlns:a16="http://schemas.microsoft.com/office/drawing/2014/main" id="{F9004EDB-D6EC-2943-8F49-53DB6CABBF6F}"/>
              </a:ext>
            </a:extLst>
          </p:cNvPr>
          <p:cNvSpPr>
            <a:spLocks noGrp="1"/>
          </p:cNvSpPr>
          <p:nvPr>
            <p:ph type="body" sz="quarter" idx="21" hasCustomPrompt="1"/>
          </p:nvPr>
        </p:nvSpPr>
        <p:spPr>
          <a:xfrm rot="16200000">
            <a:off x="11334983" y="5596317"/>
            <a:ext cx="514581" cy="1199455"/>
          </a:xfrm>
          <a:prstGeom prst="round2SameRect">
            <a:avLst>
              <a:gd name="adj1" fmla="val 50000"/>
              <a:gd name="adj2" fmla="val 0"/>
            </a:avLst>
          </a:prstGeom>
          <a:solidFill>
            <a:schemeClr val="bg1"/>
          </a:solidFill>
        </p:spPr>
        <p:txBody>
          <a:bodyPr vert="vert" wrap="none" lIns="28800" tIns="180000" rIns="28800" bIns="180000" anchor="ctr">
            <a:noAutofit/>
          </a:bodyPr>
          <a:lstStyle>
            <a:lvl1pPr marL="0" indent="0" algn="l">
              <a:lnSpc>
                <a:spcPct val="100000"/>
              </a:lnSpc>
              <a:spcAft>
                <a:spcPts val="600"/>
              </a:spcAft>
              <a:buClr>
                <a:schemeClr val="accent1"/>
              </a:buClr>
              <a:buFont typeface="Arial" panose="020B0604020202020204" pitchFamily="34" charset="0"/>
              <a:buNone/>
              <a:defRPr sz="2000" b="1">
                <a:solidFill>
                  <a:schemeClr val="tx2"/>
                </a:solidFill>
                <a:latin typeface="+mj-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de-CH" err="1">
                <a:solidFill>
                  <a:schemeClr val="accent1"/>
                </a:solidFill>
              </a:rPr>
              <a:t>wir</a:t>
            </a:r>
            <a:r>
              <a:rPr lang="de-CH" err="1"/>
              <a:t>.ch</a:t>
            </a:r>
            <a:endParaRPr lang="de-CH"/>
          </a:p>
        </p:txBody>
      </p:sp>
    </p:spTree>
    <p:extLst>
      <p:ext uri="{BB962C8B-B14F-4D97-AF65-F5344CB8AC3E}">
        <p14:creationId xmlns:p14="http://schemas.microsoft.com/office/powerpoint/2010/main" val="4068862959"/>
      </p:ext>
    </p:extLst>
  </p:cSld>
  <p:clrMapOvr>
    <a:masterClrMapping/>
  </p:clrMapOvr>
  <p:extLst>
    <p:ext uri="{DCECCB84-F9BA-43D5-87BE-67443E8EF086}">
      <p15:sldGuideLst xmlns:p15="http://schemas.microsoft.com/office/powerpoint/2012/main">
        <p15:guide id="1" pos="4294" userDrawn="1">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Inhalt 2">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5400724"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13"/>
          <p:cNvSpPr>
            <a:spLocks noGrp="1"/>
          </p:cNvSpPr>
          <p:nvPr>
            <p:ph sz="quarter" idx="15"/>
          </p:nvPr>
        </p:nvSpPr>
        <p:spPr>
          <a:xfrm>
            <a:off x="6241255" y="1700808"/>
            <a:ext cx="5399361"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10" name="Datumsplatzhalter 9">
            <a:extLst>
              <a:ext uri="{FF2B5EF4-FFF2-40B4-BE49-F238E27FC236}">
                <a16:creationId xmlns:a16="http://schemas.microsoft.com/office/drawing/2014/main" id="{DDB63676-A5E4-487F-B170-EE962B2B5A55}"/>
              </a:ext>
            </a:extLst>
          </p:cNvPr>
          <p:cNvSpPr>
            <a:spLocks noGrp="1"/>
          </p:cNvSpPr>
          <p:nvPr>
            <p:ph type="dt" sz="half" idx="16"/>
          </p:nvPr>
        </p:nvSpPr>
        <p:spPr/>
        <p:txBody>
          <a:bodyPr/>
          <a:lstStyle/>
          <a:p>
            <a:pPr>
              <a:defRPr/>
            </a:pPr>
            <a:endParaRPr lang="de-DE"/>
          </a:p>
        </p:txBody>
      </p:sp>
      <p:sp>
        <p:nvSpPr>
          <p:cNvPr id="11" name="Fußzeilenplatzhalter 10">
            <a:extLst>
              <a:ext uri="{FF2B5EF4-FFF2-40B4-BE49-F238E27FC236}">
                <a16:creationId xmlns:a16="http://schemas.microsoft.com/office/drawing/2014/main" id="{9EC34DAF-BDE7-46D2-9D4B-DBBC90ED790F}"/>
              </a:ext>
            </a:extLst>
          </p:cNvPr>
          <p:cNvSpPr>
            <a:spLocks noGrp="1"/>
          </p:cNvSpPr>
          <p:nvPr>
            <p:ph type="ftr" sz="quarter" idx="17"/>
          </p:nvPr>
        </p:nvSpPr>
        <p:spPr/>
        <p:txBody>
          <a:bodyPr/>
          <a:lstStyle/>
          <a:p>
            <a:pPr>
              <a:defRPr/>
            </a:pPr>
            <a:endParaRPr lang="de-DE" altLang="de-DE">
              <a:solidFill>
                <a:schemeClr val="tx2"/>
              </a:solidFill>
            </a:endParaRPr>
          </a:p>
        </p:txBody>
      </p:sp>
      <p:sp>
        <p:nvSpPr>
          <p:cNvPr id="12" name="Foliennummernplatzhalter 11">
            <a:extLst>
              <a:ext uri="{FF2B5EF4-FFF2-40B4-BE49-F238E27FC236}">
                <a16:creationId xmlns:a16="http://schemas.microsoft.com/office/drawing/2014/main" id="{0815FC15-3A6A-4578-B159-6B55A1D170E5}"/>
              </a:ext>
            </a:extLst>
          </p:cNvPr>
          <p:cNvSpPr>
            <a:spLocks noGrp="1"/>
          </p:cNvSpPr>
          <p:nvPr>
            <p:ph type="sldNum" sz="quarter" idx="18"/>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2553547958"/>
      </p:ext>
    </p:extLst>
  </p:cSld>
  <p:clrMapOvr>
    <a:masterClrMapping/>
  </p:clrMapOvr>
  <p:extLst>
    <p:ext uri="{DCECCB84-F9BA-43D5-87BE-67443E8EF086}">
      <p15:sldGuideLst xmlns:p15="http://schemas.microsoft.com/office/powerpoint/2012/main">
        <p15:guide id="1" pos="3704" userDrawn="1">
          <p15:clr>
            <a:srgbClr val="FBAE40"/>
          </p15:clr>
        </p15:guide>
        <p15:guide id="2" pos="3931" userDrawn="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alt 3">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13"/>
          <p:cNvSpPr>
            <a:spLocks noGrp="1"/>
          </p:cNvSpPr>
          <p:nvPr>
            <p:ph sz="quarter" idx="15"/>
          </p:nvPr>
        </p:nvSpPr>
        <p:spPr>
          <a:xfrm>
            <a:off x="4296790"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3" name="Inhaltsplatzhalter 13"/>
          <p:cNvSpPr>
            <a:spLocks noGrp="1"/>
          </p:cNvSpPr>
          <p:nvPr>
            <p:ph sz="quarter" idx="16"/>
          </p:nvPr>
        </p:nvSpPr>
        <p:spPr>
          <a:xfrm>
            <a:off x="8113140" y="1700808"/>
            <a:ext cx="3527998"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9" name="Datumsplatzhalter 8">
            <a:extLst>
              <a:ext uri="{FF2B5EF4-FFF2-40B4-BE49-F238E27FC236}">
                <a16:creationId xmlns:a16="http://schemas.microsoft.com/office/drawing/2014/main" id="{30EAE232-F208-4845-886B-B74E72F5D5AB}"/>
              </a:ext>
            </a:extLst>
          </p:cNvPr>
          <p:cNvSpPr>
            <a:spLocks noGrp="1"/>
          </p:cNvSpPr>
          <p:nvPr>
            <p:ph type="dt" sz="half" idx="17"/>
          </p:nvPr>
        </p:nvSpPr>
        <p:spPr/>
        <p:txBody>
          <a:bodyPr/>
          <a:lstStyle/>
          <a:p>
            <a:pPr>
              <a:defRPr/>
            </a:pPr>
            <a:endParaRPr lang="de-DE"/>
          </a:p>
        </p:txBody>
      </p:sp>
      <p:sp>
        <p:nvSpPr>
          <p:cNvPr id="10" name="Fußzeilenplatzhalter 9">
            <a:extLst>
              <a:ext uri="{FF2B5EF4-FFF2-40B4-BE49-F238E27FC236}">
                <a16:creationId xmlns:a16="http://schemas.microsoft.com/office/drawing/2014/main" id="{8F1AB837-E0B3-4C34-A097-6B27FA58B5AD}"/>
              </a:ext>
            </a:extLst>
          </p:cNvPr>
          <p:cNvSpPr>
            <a:spLocks noGrp="1"/>
          </p:cNvSpPr>
          <p:nvPr>
            <p:ph type="ftr" sz="quarter" idx="18"/>
          </p:nvPr>
        </p:nvSpPr>
        <p:spPr/>
        <p:txBody>
          <a:bodyPr/>
          <a:lstStyle/>
          <a:p>
            <a:pPr>
              <a:defRPr/>
            </a:pPr>
            <a:endParaRPr lang="de-DE" altLang="de-DE">
              <a:solidFill>
                <a:schemeClr val="tx2"/>
              </a:solidFill>
            </a:endParaRPr>
          </a:p>
        </p:txBody>
      </p:sp>
      <p:sp>
        <p:nvSpPr>
          <p:cNvPr id="11" name="Foliennummernplatzhalter 10">
            <a:extLst>
              <a:ext uri="{FF2B5EF4-FFF2-40B4-BE49-F238E27FC236}">
                <a16:creationId xmlns:a16="http://schemas.microsoft.com/office/drawing/2014/main" id="{A11DD7DE-D0D5-4854-A5A9-0D4037DEE80F}"/>
              </a:ext>
            </a:extLst>
          </p:cNvPr>
          <p:cNvSpPr>
            <a:spLocks noGrp="1"/>
          </p:cNvSpPr>
          <p:nvPr>
            <p:ph type="sldNum" sz="quarter" idx="19"/>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61466815"/>
      </p:ext>
    </p:extLst>
  </p:cSld>
  <p:clrMapOvr>
    <a:masterClrMapping/>
  </p:clrMapOvr>
  <p:extLst>
    <p:ext uri="{DCECCB84-F9BA-43D5-87BE-67443E8EF086}">
      <p15:sldGuideLst xmlns:p15="http://schemas.microsoft.com/office/powerpoint/2012/main">
        <p15:guide id="1" pos="2706" userDrawn="1">
          <p15:clr>
            <a:srgbClr val="FBAE40"/>
          </p15:clr>
        </p15:guide>
        <p15:guide id="2" pos="4929" userDrawn="1">
          <p15:clr>
            <a:srgbClr val="FBAE40"/>
          </p15:clr>
        </p15:guide>
        <p15:guide id="3" pos="5110" userDrawn="1">
          <p15:clr>
            <a:srgbClr val="FBAE40"/>
          </p15:clr>
        </p15:guide>
        <p15:guide id="5" pos="2525" userDrawn="1">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Inhalt 4">
    <p:spTree>
      <p:nvGrpSpPr>
        <p:cNvPr id="1" name=""/>
        <p:cNvGrpSpPr/>
        <p:nvPr/>
      </p:nvGrpSpPr>
      <p:grpSpPr>
        <a:xfrm>
          <a:off x="0" y="0"/>
          <a:ext cx="0" cy="0"/>
          <a:chOff x="0" y="0"/>
          <a:chExt cx="0" cy="0"/>
        </a:xfrm>
      </p:grpSpPr>
      <p:sp>
        <p:nvSpPr>
          <p:cNvPr id="14" name="Inhaltsplatzhalter 13"/>
          <p:cNvSpPr>
            <a:spLocks noGrp="1"/>
          </p:cNvSpPr>
          <p:nvPr>
            <p:ph sz="quarter" idx="14"/>
          </p:nvPr>
        </p:nvSpPr>
        <p:spPr>
          <a:xfrm>
            <a:off x="479376" y="1700808"/>
            <a:ext cx="252028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7" name="Inhaltsplatzhalter 13"/>
          <p:cNvSpPr>
            <a:spLocks noGrp="1"/>
          </p:cNvSpPr>
          <p:nvPr>
            <p:ph sz="quarter" idx="15"/>
          </p:nvPr>
        </p:nvSpPr>
        <p:spPr>
          <a:xfrm>
            <a:off x="3359696" y="1700808"/>
            <a:ext cx="252028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p:txBody>
          <a:bodyPr/>
          <a:lstStyle/>
          <a:p>
            <a:r>
              <a:rPr lang="de-DE"/>
              <a:t>Mastertitelformat bearbeiten</a:t>
            </a:r>
          </a:p>
        </p:txBody>
      </p:sp>
      <p:sp>
        <p:nvSpPr>
          <p:cNvPr id="7" name="Inhaltsplatzhalter 6"/>
          <p:cNvSpPr>
            <a:spLocks noGrp="1"/>
          </p:cNvSpPr>
          <p:nvPr>
            <p:ph sz="quarter" idx="19"/>
          </p:nvPr>
        </p:nvSpPr>
        <p:spPr>
          <a:xfrm>
            <a:off x="6240016" y="1700808"/>
            <a:ext cx="2520850"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9" name="Inhaltsplatzhalter 8"/>
          <p:cNvSpPr>
            <a:spLocks noGrp="1"/>
          </p:cNvSpPr>
          <p:nvPr>
            <p:ph sz="quarter" idx="20"/>
          </p:nvPr>
        </p:nvSpPr>
        <p:spPr>
          <a:xfrm>
            <a:off x="9120336" y="1700808"/>
            <a:ext cx="2520802" cy="4536000"/>
          </a:xfrm>
        </p:spPr>
        <p:txBody>
          <a:bodyPr/>
          <a:lstStyle>
            <a:lvl1pPr>
              <a:defRPr sz="1600"/>
            </a:lvl1pPr>
            <a:lvl2pPr>
              <a:defRPr sz="1600"/>
            </a:lvl2pPr>
            <a:lvl3pPr>
              <a:defRPr sz="1600"/>
            </a:lvl3pPr>
            <a:lvl4pPr>
              <a:defRPr sz="1600"/>
            </a:lvl4pPr>
            <a:lvl5pPr>
              <a:defRPr sz="16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11" name="Datumsplatzhalter 10">
            <a:extLst>
              <a:ext uri="{FF2B5EF4-FFF2-40B4-BE49-F238E27FC236}">
                <a16:creationId xmlns:a16="http://schemas.microsoft.com/office/drawing/2014/main" id="{778A4672-5AEC-41B3-8C71-8D165079F6AB}"/>
              </a:ext>
            </a:extLst>
          </p:cNvPr>
          <p:cNvSpPr>
            <a:spLocks noGrp="1"/>
          </p:cNvSpPr>
          <p:nvPr>
            <p:ph type="dt" sz="half" idx="21"/>
          </p:nvPr>
        </p:nvSpPr>
        <p:spPr/>
        <p:txBody>
          <a:bodyPr/>
          <a:lstStyle/>
          <a:p>
            <a:pPr>
              <a:defRPr/>
            </a:pPr>
            <a:endParaRPr lang="de-DE"/>
          </a:p>
        </p:txBody>
      </p:sp>
      <p:sp>
        <p:nvSpPr>
          <p:cNvPr id="13" name="Fußzeilenplatzhalter 12">
            <a:extLst>
              <a:ext uri="{FF2B5EF4-FFF2-40B4-BE49-F238E27FC236}">
                <a16:creationId xmlns:a16="http://schemas.microsoft.com/office/drawing/2014/main" id="{79938147-347D-4894-B1F1-E7DAB8A481F9}"/>
              </a:ext>
            </a:extLst>
          </p:cNvPr>
          <p:cNvSpPr>
            <a:spLocks noGrp="1"/>
          </p:cNvSpPr>
          <p:nvPr>
            <p:ph type="ftr" sz="quarter" idx="22"/>
          </p:nvPr>
        </p:nvSpPr>
        <p:spPr/>
        <p:txBody>
          <a:bodyPr/>
          <a:lstStyle/>
          <a:p>
            <a:pPr>
              <a:defRPr/>
            </a:pPr>
            <a:endParaRPr lang="de-DE" altLang="de-DE">
              <a:solidFill>
                <a:schemeClr val="tx2"/>
              </a:solidFill>
            </a:endParaRPr>
          </a:p>
        </p:txBody>
      </p:sp>
      <p:sp>
        <p:nvSpPr>
          <p:cNvPr id="15" name="Foliennummernplatzhalter 14">
            <a:extLst>
              <a:ext uri="{FF2B5EF4-FFF2-40B4-BE49-F238E27FC236}">
                <a16:creationId xmlns:a16="http://schemas.microsoft.com/office/drawing/2014/main" id="{D31D277C-7273-4CAB-84A5-9320CADF5385}"/>
              </a:ext>
            </a:extLst>
          </p:cNvPr>
          <p:cNvSpPr>
            <a:spLocks noGrp="1"/>
          </p:cNvSpPr>
          <p:nvPr>
            <p:ph type="sldNum" sz="quarter" idx="23"/>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356327555"/>
      </p:ext>
    </p:extLst>
  </p:cSld>
  <p:clrMapOvr>
    <a:masterClrMapping/>
  </p:clrMapOvr>
  <p:extLst>
    <p:ext uri="{DCECCB84-F9BA-43D5-87BE-67443E8EF086}">
      <p15:sldGuideLst xmlns:p15="http://schemas.microsoft.com/office/powerpoint/2012/main">
        <p15:guide id="1" pos="3704" userDrawn="1">
          <p15:clr>
            <a:srgbClr val="FBAE40"/>
          </p15:clr>
        </p15:guide>
        <p15:guide id="2" pos="3931" userDrawn="1">
          <p15:clr>
            <a:srgbClr val="FBAE40"/>
          </p15:clr>
        </p15:guide>
        <p15:guide id="3" pos="5518" userDrawn="1">
          <p15:clr>
            <a:srgbClr val="FBAE40"/>
          </p15:clr>
        </p15:guide>
        <p15:guide id="4" pos="5745" userDrawn="1">
          <p15:clr>
            <a:srgbClr val="FBAE40"/>
          </p15:clr>
        </p15:guide>
        <p15:guide id="5" pos="2116" userDrawn="1">
          <p15:clr>
            <a:srgbClr val="FBAE40"/>
          </p15:clr>
        </p15:guide>
        <p15:guide id="6" pos="1890" userDrawn="1">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Inhalt Bild rechts">
    <p:spTree>
      <p:nvGrpSpPr>
        <p:cNvPr id="1" name=""/>
        <p:cNvGrpSpPr/>
        <p:nvPr/>
      </p:nvGrpSpPr>
      <p:grpSpPr>
        <a:xfrm>
          <a:off x="0" y="0"/>
          <a:ext cx="0" cy="0"/>
          <a:chOff x="0" y="0"/>
          <a:chExt cx="0" cy="0"/>
        </a:xfrm>
      </p:grpSpPr>
      <p:sp>
        <p:nvSpPr>
          <p:cNvPr id="17" name="Inhaltsplatzhalter 13"/>
          <p:cNvSpPr>
            <a:spLocks noGrp="1"/>
          </p:cNvSpPr>
          <p:nvPr>
            <p:ph sz="quarter" idx="15"/>
          </p:nvPr>
        </p:nvSpPr>
        <p:spPr>
          <a:xfrm>
            <a:off x="479376" y="1700808"/>
            <a:ext cx="7344817"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a:xfrm>
            <a:off x="479376" y="476672"/>
            <a:ext cx="7345412" cy="792000"/>
          </a:xfrm>
        </p:spPr>
        <p:txBody>
          <a:bodyPr/>
          <a:lstStyle/>
          <a:p>
            <a:r>
              <a:rPr lang="de-DE"/>
              <a:t>Mastertitelformat bearbeiten</a:t>
            </a:r>
          </a:p>
        </p:txBody>
      </p:sp>
      <p:sp>
        <p:nvSpPr>
          <p:cNvPr id="7" name="Bildplatzhalter 6">
            <a:extLst>
              <a:ext uri="{FF2B5EF4-FFF2-40B4-BE49-F238E27FC236}">
                <a16:creationId xmlns:a16="http://schemas.microsoft.com/office/drawing/2014/main" id="{E99FF7A6-9073-4943-8A01-B0E3AB6198CA}"/>
              </a:ext>
            </a:extLst>
          </p:cNvPr>
          <p:cNvSpPr>
            <a:spLocks noGrp="1"/>
          </p:cNvSpPr>
          <p:nvPr>
            <p:ph type="pic" sz="quarter" idx="19"/>
          </p:nvPr>
        </p:nvSpPr>
        <p:spPr>
          <a:xfrm>
            <a:off x="8112224" y="0"/>
            <a:ext cx="4079776" cy="6858000"/>
          </a:xfrm>
        </p:spPr>
        <p:txBody>
          <a:bodyPr/>
          <a:lstStyle>
            <a:lvl1pPr>
              <a:defRPr sz="800"/>
            </a:lvl1pPr>
          </a:lstStyle>
          <a:p>
            <a:r>
              <a:rPr lang="de-DE"/>
              <a:t>Bild durch Klicken auf Symbol hinzufügen</a:t>
            </a:r>
          </a:p>
        </p:txBody>
      </p:sp>
      <p:sp>
        <p:nvSpPr>
          <p:cNvPr id="11" name="Datumsplatzhalter 10">
            <a:extLst>
              <a:ext uri="{FF2B5EF4-FFF2-40B4-BE49-F238E27FC236}">
                <a16:creationId xmlns:a16="http://schemas.microsoft.com/office/drawing/2014/main" id="{FBCBC472-5F59-4754-9481-B2AEF4ACAF12}"/>
              </a:ext>
            </a:extLst>
          </p:cNvPr>
          <p:cNvSpPr>
            <a:spLocks noGrp="1"/>
          </p:cNvSpPr>
          <p:nvPr>
            <p:ph type="dt" sz="half" idx="20"/>
          </p:nvPr>
        </p:nvSpPr>
        <p:spPr/>
        <p:txBody>
          <a:bodyPr/>
          <a:lstStyle/>
          <a:p>
            <a:pPr>
              <a:defRPr/>
            </a:pPr>
            <a:endParaRPr lang="de-DE"/>
          </a:p>
        </p:txBody>
      </p:sp>
      <p:sp>
        <p:nvSpPr>
          <p:cNvPr id="12" name="Fußzeilenplatzhalter 11">
            <a:extLst>
              <a:ext uri="{FF2B5EF4-FFF2-40B4-BE49-F238E27FC236}">
                <a16:creationId xmlns:a16="http://schemas.microsoft.com/office/drawing/2014/main" id="{2A909F7E-04E3-4C5C-8414-B11031A3C2B1}"/>
              </a:ext>
            </a:extLst>
          </p:cNvPr>
          <p:cNvSpPr>
            <a:spLocks noGrp="1"/>
          </p:cNvSpPr>
          <p:nvPr>
            <p:ph type="ftr" sz="quarter" idx="21"/>
          </p:nvPr>
        </p:nvSpPr>
        <p:spPr/>
        <p:txBody>
          <a:bodyPr/>
          <a:lstStyle/>
          <a:p>
            <a:pPr>
              <a:defRPr/>
            </a:pPr>
            <a:endParaRPr lang="de-DE" altLang="de-DE">
              <a:solidFill>
                <a:schemeClr val="tx2"/>
              </a:solidFill>
            </a:endParaRPr>
          </a:p>
        </p:txBody>
      </p:sp>
      <p:sp>
        <p:nvSpPr>
          <p:cNvPr id="13" name="Foliennummernplatzhalter 12">
            <a:extLst>
              <a:ext uri="{FF2B5EF4-FFF2-40B4-BE49-F238E27FC236}">
                <a16:creationId xmlns:a16="http://schemas.microsoft.com/office/drawing/2014/main" id="{566EDF52-8B13-410A-AFC8-59939F85D4B8}"/>
              </a:ext>
            </a:extLst>
          </p:cNvPr>
          <p:cNvSpPr>
            <a:spLocks noGrp="1"/>
          </p:cNvSpPr>
          <p:nvPr>
            <p:ph type="sldNum" sz="quarter" idx="22"/>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206633298"/>
      </p:ext>
    </p:extLst>
  </p:cSld>
  <p:clrMapOvr>
    <a:masterClrMapping/>
  </p:clrMapOvr>
  <p:extLst>
    <p:ext uri="{DCECCB84-F9BA-43D5-87BE-67443E8EF086}">
      <p15:sldGuideLst xmlns:p15="http://schemas.microsoft.com/office/powerpoint/2012/main">
        <p15:guide id="1" pos="4929" userDrawn="1">
          <p15:clr>
            <a:srgbClr val="FBAE40"/>
          </p15:clr>
        </p15:guide>
        <p15:guide id="2" pos="5110" userDrawn="1">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Inhalt Bild links">
    <p:spTree>
      <p:nvGrpSpPr>
        <p:cNvPr id="1" name=""/>
        <p:cNvGrpSpPr/>
        <p:nvPr/>
      </p:nvGrpSpPr>
      <p:grpSpPr>
        <a:xfrm>
          <a:off x="0" y="0"/>
          <a:ext cx="0" cy="0"/>
          <a:chOff x="0" y="0"/>
          <a:chExt cx="0" cy="0"/>
        </a:xfrm>
      </p:grpSpPr>
      <p:sp>
        <p:nvSpPr>
          <p:cNvPr id="17" name="Inhaltsplatzhalter 13"/>
          <p:cNvSpPr>
            <a:spLocks noGrp="1"/>
          </p:cNvSpPr>
          <p:nvPr>
            <p:ph sz="quarter" idx="15"/>
          </p:nvPr>
        </p:nvSpPr>
        <p:spPr>
          <a:xfrm>
            <a:off x="4295800" y="1700808"/>
            <a:ext cx="7344817" cy="45360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2" name="Titel 1"/>
          <p:cNvSpPr>
            <a:spLocks noGrp="1"/>
          </p:cNvSpPr>
          <p:nvPr>
            <p:ph type="title"/>
          </p:nvPr>
        </p:nvSpPr>
        <p:spPr>
          <a:xfrm>
            <a:off x="4295798" y="476672"/>
            <a:ext cx="7344817" cy="792000"/>
          </a:xfrm>
        </p:spPr>
        <p:txBody>
          <a:bodyPr/>
          <a:lstStyle/>
          <a:p>
            <a:r>
              <a:rPr lang="de-DE"/>
              <a:t>Mastertitelformat bearbeiten</a:t>
            </a:r>
          </a:p>
        </p:txBody>
      </p:sp>
      <p:sp>
        <p:nvSpPr>
          <p:cNvPr id="7" name="Bildplatzhalter 6">
            <a:extLst>
              <a:ext uri="{FF2B5EF4-FFF2-40B4-BE49-F238E27FC236}">
                <a16:creationId xmlns:a16="http://schemas.microsoft.com/office/drawing/2014/main" id="{E99FF7A6-9073-4943-8A01-B0E3AB6198CA}"/>
              </a:ext>
            </a:extLst>
          </p:cNvPr>
          <p:cNvSpPr>
            <a:spLocks noGrp="1"/>
          </p:cNvSpPr>
          <p:nvPr>
            <p:ph type="pic" sz="quarter" idx="19"/>
          </p:nvPr>
        </p:nvSpPr>
        <p:spPr>
          <a:xfrm>
            <a:off x="1" y="0"/>
            <a:ext cx="4007374" cy="6858000"/>
          </a:xfrm>
        </p:spPr>
        <p:txBody>
          <a:bodyPr/>
          <a:lstStyle>
            <a:lvl1pPr>
              <a:defRPr sz="800"/>
            </a:lvl1pPr>
          </a:lstStyle>
          <a:p>
            <a:r>
              <a:rPr lang="de-DE"/>
              <a:t>Bild durch Klicken auf Symbol hinzufügen</a:t>
            </a:r>
          </a:p>
        </p:txBody>
      </p:sp>
    </p:spTree>
    <p:extLst>
      <p:ext uri="{BB962C8B-B14F-4D97-AF65-F5344CB8AC3E}">
        <p14:creationId xmlns:p14="http://schemas.microsoft.com/office/powerpoint/2010/main" val="3733376731"/>
      </p:ext>
    </p:extLst>
  </p:cSld>
  <p:clrMapOvr>
    <a:masterClrMapping/>
  </p:clrMapOvr>
  <p:extLst>
    <p:ext uri="{DCECCB84-F9BA-43D5-87BE-67443E8EF086}">
      <p15:sldGuideLst xmlns:p15="http://schemas.microsoft.com/office/powerpoint/2012/main">
        <p15:guide id="1" pos="2706" userDrawn="1">
          <p15:clr>
            <a:srgbClr val="FBAE40"/>
          </p15:clr>
        </p15:guide>
        <p15:guide id="2" pos="2525"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Leer">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10" name="Datumsplatzhalter 9">
            <a:extLst>
              <a:ext uri="{FF2B5EF4-FFF2-40B4-BE49-F238E27FC236}">
                <a16:creationId xmlns:a16="http://schemas.microsoft.com/office/drawing/2014/main" id="{4B397AA1-041D-42E7-8DC6-339FD966C314}"/>
              </a:ext>
            </a:extLst>
          </p:cNvPr>
          <p:cNvSpPr>
            <a:spLocks noGrp="1"/>
          </p:cNvSpPr>
          <p:nvPr>
            <p:ph type="dt" sz="half" idx="11"/>
          </p:nvPr>
        </p:nvSpPr>
        <p:spPr/>
        <p:txBody>
          <a:bodyPr/>
          <a:lstStyle/>
          <a:p>
            <a:pPr>
              <a:defRPr/>
            </a:pPr>
            <a:endParaRPr lang="de-DE"/>
          </a:p>
        </p:txBody>
      </p:sp>
      <p:sp>
        <p:nvSpPr>
          <p:cNvPr id="11" name="Fußzeilenplatzhalter 10">
            <a:extLst>
              <a:ext uri="{FF2B5EF4-FFF2-40B4-BE49-F238E27FC236}">
                <a16:creationId xmlns:a16="http://schemas.microsoft.com/office/drawing/2014/main" id="{41BBE8EC-7C20-4BD2-912C-D9A7E9ECADF2}"/>
              </a:ext>
            </a:extLst>
          </p:cNvPr>
          <p:cNvSpPr>
            <a:spLocks noGrp="1"/>
          </p:cNvSpPr>
          <p:nvPr>
            <p:ph type="ftr" sz="quarter" idx="12"/>
          </p:nvPr>
        </p:nvSpPr>
        <p:spPr/>
        <p:txBody>
          <a:bodyPr/>
          <a:lstStyle/>
          <a:p>
            <a:pPr>
              <a:defRPr/>
            </a:pPr>
            <a:endParaRPr lang="de-DE" altLang="de-DE">
              <a:solidFill>
                <a:schemeClr val="tx2"/>
              </a:solidFill>
            </a:endParaRPr>
          </a:p>
        </p:txBody>
      </p:sp>
      <p:sp>
        <p:nvSpPr>
          <p:cNvPr id="12" name="Foliennummernplatzhalter 11">
            <a:extLst>
              <a:ext uri="{FF2B5EF4-FFF2-40B4-BE49-F238E27FC236}">
                <a16:creationId xmlns:a16="http://schemas.microsoft.com/office/drawing/2014/main" id="{4B2FD70E-B8BD-4728-AC01-9805C303DA96}"/>
              </a:ext>
            </a:extLst>
          </p:cNvPr>
          <p:cNvSpPr>
            <a:spLocks noGrp="1"/>
          </p:cNvSpPr>
          <p:nvPr>
            <p:ph type="sldNum" sz="quarter" idx="13"/>
          </p:nvPr>
        </p:nvSpPr>
        <p:spPr/>
        <p:txBody>
          <a:bodyPr/>
          <a:lstStyle/>
          <a:p>
            <a:pPr>
              <a:defRPr/>
            </a:pPr>
            <a:fld id="{DE15152C-7E44-A94B-BCD8-272D3D1F368E}" type="slidenum">
              <a:rPr lang="de-DE" altLang="de-DE" smtClean="0"/>
              <a:pPr>
                <a:defRPr/>
              </a:pPr>
              <a:t>‹Nr.›</a:t>
            </a:fld>
            <a:endParaRPr lang="de-DE" altLang="de-DE" sz="900"/>
          </a:p>
        </p:txBody>
      </p:sp>
    </p:spTree>
    <p:extLst>
      <p:ext uri="{BB962C8B-B14F-4D97-AF65-F5344CB8AC3E}">
        <p14:creationId xmlns:p14="http://schemas.microsoft.com/office/powerpoint/2010/main" val="3114298300"/>
      </p:ext>
    </p:extLst>
  </p:cSld>
  <p:clrMapOvr>
    <a:masterClrMapping/>
  </p:clrMapOvr>
  <p:extLst>
    <p:ext uri="{DCECCB84-F9BA-43D5-87BE-67443E8EF086}">
      <p15:sldGuideLst xmlns:p15="http://schemas.microsoft.com/office/powerpoint/2012/main">
        <p15:guide id="1" pos="1890" userDrawn="1">
          <p15:clr>
            <a:srgbClr val="FBAE40"/>
          </p15:clr>
        </p15:guide>
        <p15:guide id="2" pos="3704" userDrawn="1">
          <p15:clr>
            <a:srgbClr val="FBAE40"/>
          </p15:clr>
        </p15:guide>
        <p15:guide id="3" pos="3931" userDrawn="1">
          <p15:clr>
            <a:srgbClr val="FBAE40"/>
          </p15:clr>
        </p15:guide>
        <p15:guide id="4" pos="5518" userDrawn="1">
          <p15:clr>
            <a:srgbClr val="FBAE40"/>
          </p15:clr>
        </p15:guide>
        <p15:guide id="5" pos="5745" userDrawn="1">
          <p15:clr>
            <a:srgbClr val="FBAE40"/>
          </p15:clr>
        </p15:guide>
        <p15:guide id="6" pos="2116" userDrawn="1">
          <p15:clr>
            <a:srgbClr val="FBAE40"/>
          </p15:clr>
        </p15:guide>
        <p15:guide id="7" pos="2525" userDrawn="1">
          <p15:clr>
            <a:srgbClr val="FBAE40"/>
          </p15:clr>
        </p15:guide>
        <p15:guide id="8" pos="2706" userDrawn="1">
          <p15:clr>
            <a:srgbClr val="FBAE40"/>
          </p15:clr>
        </p15:guide>
        <p15:guide id="9" pos="5110" userDrawn="1">
          <p15:clr>
            <a:srgbClr val="FBAE40"/>
          </p15:clr>
        </p15:guide>
        <p15:guide id="10" pos="4929"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Zwischentitel Bild oben">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4" name="Bildplatzhalter 4">
            <a:extLst>
              <a:ext uri="{FF2B5EF4-FFF2-40B4-BE49-F238E27FC236}">
                <a16:creationId xmlns:a16="http://schemas.microsoft.com/office/drawing/2014/main" id="{C78E584D-7BF7-B046-BF17-A814CED32A1B}"/>
              </a:ext>
            </a:extLst>
          </p:cNvPr>
          <p:cNvSpPr>
            <a:spLocks noGrp="1"/>
          </p:cNvSpPr>
          <p:nvPr>
            <p:ph type="pic" sz="quarter" idx="19"/>
          </p:nvPr>
        </p:nvSpPr>
        <p:spPr>
          <a:xfrm>
            <a:off x="0" y="3429000"/>
            <a:ext cx="12192000" cy="3429000"/>
          </a:xfrm>
          <a:solidFill>
            <a:schemeClr val="accent1"/>
          </a:solidFill>
        </p:spPr>
        <p:txBody>
          <a:bodyPr/>
          <a:lstStyle>
            <a:lvl1pPr>
              <a:defRPr sz="400">
                <a:solidFill>
                  <a:schemeClr val="tx2"/>
                </a:solidFill>
              </a:defRPr>
            </a:lvl1pPr>
          </a:lstStyle>
          <a:p>
            <a:r>
              <a:rPr lang="de-DE"/>
              <a:t>Bild durch Klicken auf Symbol hinzufügen</a:t>
            </a: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6240016" y="4077073"/>
            <a:ext cx="5368556" cy="216021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0" y="0"/>
            <a:ext cx="12192000" cy="3429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p:nvPr>
        </p:nvSpPr>
        <p:spPr>
          <a:xfrm>
            <a:off x="476433" y="4077072"/>
            <a:ext cx="5403543" cy="2160216"/>
          </a:xfrm>
        </p:spPr>
        <p:txBody>
          <a:bodyPr anchor="t"/>
          <a:lstStyle>
            <a:lvl1pPr>
              <a:defRPr sz="2800" b="1">
                <a:solidFill>
                  <a:schemeClr val="bg1"/>
                </a:solidFill>
              </a:defRPr>
            </a:lvl1pPr>
          </a:lstStyle>
          <a:p>
            <a:r>
              <a:rPr lang="de-DE"/>
              <a:t>Mastertitelformat bearbeiten</a:t>
            </a:r>
            <a:endParaRPr lang="de-CH"/>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639003291"/>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Zwischentitel Bild Link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6384081"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6384032" y="1700894"/>
            <a:ext cx="5256000" cy="2376000"/>
          </a:xfrm>
        </p:spPr>
        <p:txBody>
          <a:bodyPr anchor="b"/>
          <a:lstStyle>
            <a:lvl1pPr>
              <a:defRPr sz="3400" b="1">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79711543"/>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Zwischentitel Bild recht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b="1">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E856CF36-F260-3E46-9324-553798B2260C}"/>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2935C21D-204E-A143-B451-F449787C051D}"/>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198F463D-33BC-A547-A5D4-82E194A033DE}"/>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720152597"/>
      </p:ext>
    </p:extLst>
  </p:cSld>
  <p:clrMapOvr>
    <a:masterClrMapping/>
  </p:clrMapOvr>
  <p:extLst>
    <p:ext uri="{DCECCB84-F9BA-43D5-87BE-67443E8EF086}">
      <p15:sldGuideLst xmlns:p15="http://schemas.microsoft.com/office/powerpoint/2012/main">
        <p15:guide id="1" pos="3840" userDrawn="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Zwischentitel B2B">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95D7B173-5885-D14C-974E-247F217FD935}"/>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FBBBC3F5-A41A-B748-AEE7-1B6C5C742A2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ED7C5E1C-6C29-8E4E-9E5E-39EC6EDAED6F}"/>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25589097"/>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Zwischentitel B2C">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12192000" cy="6863485"/>
          </a:xfrm>
          <a:prstGeom prst="rect">
            <a:avLst/>
          </a:prstGeom>
          <a:solidFill>
            <a:schemeClr val="accent4"/>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5" y="4437112"/>
            <a:ext cx="5255951" cy="1800176"/>
          </a:xfrm>
        </p:spPr>
        <p:txBody>
          <a:bodyPr anchor="t"/>
          <a:lstStyle>
            <a:lvl1pPr>
              <a:defRPr sz="18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3" name="Bildplatzhalter 2">
            <a:extLst>
              <a:ext uri="{FF2B5EF4-FFF2-40B4-BE49-F238E27FC236}">
                <a16:creationId xmlns:a16="http://schemas.microsoft.com/office/drawing/2014/main" id="{3F4641E1-53E7-5D43-A846-752423CE3DE6}"/>
              </a:ext>
            </a:extLst>
          </p:cNvPr>
          <p:cNvSpPr>
            <a:spLocks noGrp="1"/>
          </p:cNvSpPr>
          <p:nvPr>
            <p:ph type="pic" sz="quarter" idx="18"/>
          </p:nvPr>
        </p:nvSpPr>
        <p:spPr>
          <a:xfrm>
            <a:off x="6096000" y="0"/>
            <a:ext cx="6096000" cy="6858000"/>
          </a:xfrm>
          <a:noFill/>
        </p:spPr>
        <p:txBody>
          <a:bodyPr/>
          <a:lstStyle>
            <a:lvl1pPr>
              <a:defRPr sz="500">
                <a:latin typeface="+mn-lt"/>
              </a:defRPr>
            </a:lvl1pPr>
          </a:lstStyle>
          <a:p>
            <a:r>
              <a:rPr lang="de-DE"/>
              <a:t>Bild durch Klicken auf Symbol hinzufügen</a:t>
            </a:r>
            <a:endParaRPr lang="de-CH"/>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6" y="1700894"/>
            <a:ext cx="5256000" cy="2376000"/>
          </a:xfrm>
        </p:spPr>
        <p:txBody>
          <a:bodyPr anchor="b"/>
          <a:lstStyle>
            <a:lvl1pPr>
              <a:defRPr sz="3400">
                <a:solidFill>
                  <a:schemeClr val="bg1"/>
                </a:solidFill>
              </a:defRPr>
            </a:lvl1pPr>
          </a:lstStyle>
          <a:p>
            <a:r>
              <a:rPr lang="de-DE"/>
              <a:t>Mastertitelformat </a:t>
            </a:r>
            <a:br>
              <a:rPr lang="de-DE"/>
            </a:br>
            <a:r>
              <a:rPr lang="de-DE"/>
              <a:t>bearbeiten</a:t>
            </a:r>
            <a:endParaRPr lang="de-CH"/>
          </a:p>
        </p:txBody>
      </p:sp>
      <p:grpSp>
        <p:nvGrpSpPr>
          <p:cNvPr id="9" name="Gruppieren 8">
            <a:extLst>
              <a:ext uri="{FF2B5EF4-FFF2-40B4-BE49-F238E27FC236}">
                <a16:creationId xmlns:a16="http://schemas.microsoft.com/office/drawing/2014/main" id="{C69FC096-B280-634B-AE7F-F573DFCDAE08}"/>
              </a:ext>
            </a:extLst>
          </p:cNvPr>
          <p:cNvGrpSpPr>
            <a:grpSpLocks/>
          </p:cNvGrpSpPr>
          <p:nvPr userDrawn="1"/>
        </p:nvGrpSpPr>
        <p:grpSpPr bwMode="auto">
          <a:xfrm>
            <a:off x="1" y="575692"/>
            <a:ext cx="1847527" cy="798612"/>
            <a:chOff x="1060156" y="1339914"/>
            <a:chExt cx="4435100" cy="1917364"/>
          </a:xfrm>
        </p:grpSpPr>
        <p:pic>
          <p:nvPicPr>
            <p:cNvPr id="10" name="Picture 11" descr="tile_paper_medgray">
              <a:extLst>
                <a:ext uri="{FF2B5EF4-FFF2-40B4-BE49-F238E27FC236}">
                  <a16:creationId xmlns:a16="http://schemas.microsoft.com/office/drawing/2014/main" id="{06750CA3-265E-9F45-AD99-B2D547F8A46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Grafik 5">
              <a:extLst>
                <a:ext uri="{FF2B5EF4-FFF2-40B4-BE49-F238E27FC236}">
                  <a16:creationId xmlns:a16="http://schemas.microsoft.com/office/drawing/2014/main" id="{0D72AF73-2162-A84F-B05A-F981D3CD86D3}"/>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93934194"/>
      </p:ext>
    </p:extLst>
  </p:cSld>
  <p:clrMapOvr>
    <a:masterClrMapping/>
  </p:clrMapOvr>
  <p:extLst>
    <p:ext uri="{DCECCB84-F9BA-43D5-87BE-67443E8EF086}">
      <p15:sldGuideLst xmlns:p15="http://schemas.microsoft.com/office/powerpoint/2012/main">
        <p15:guide id="1" pos="384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Fokus">
    <p:spTree>
      <p:nvGrpSpPr>
        <p:cNvPr id="1" name=""/>
        <p:cNvGrpSpPr/>
        <p:nvPr/>
      </p:nvGrpSpPr>
      <p:grpSpPr>
        <a:xfrm>
          <a:off x="0" y="0"/>
          <a:ext cx="0" cy="0"/>
          <a:chOff x="0" y="0"/>
          <a:chExt cx="0" cy="0"/>
        </a:xfrm>
      </p:grpSpPr>
      <p:sp>
        <p:nvSpPr>
          <p:cNvPr id="11" name="Rechteck 10">
            <a:extLst>
              <a:ext uri="{FF2B5EF4-FFF2-40B4-BE49-F238E27FC236}">
                <a16:creationId xmlns:a16="http://schemas.microsoft.com/office/drawing/2014/main" id="{989C1CF1-C6FD-304A-BB92-DE326E75F16C}"/>
              </a:ext>
            </a:extLst>
          </p:cNvPr>
          <p:cNvSpPr/>
          <p:nvPr userDrawn="1"/>
        </p:nvSpPr>
        <p:spPr>
          <a:xfrm>
            <a:off x="0" y="0"/>
            <a:ext cx="4007374" cy="6863485"/>
          </a:xfrm>
          <a:prstGeom prst="rect">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216000" rIns="216000" bIns="216000" numCol="1" spcCol="0" rtlCol="0" fromWordArt="0" anchor="t" anchorCtr="0" forceAA="0" compatLnSpc="1">
            <a:prstTxWarp prst="textNoShape">
              <a:avLst/>
            </a:prstTxWarp>
            <a:noAutofit/>
          </a:bodyPr>
          <a:lstStyle/>
          <a:p>
            <a:pPr marL="216000" indent="-216000" algn="ctr">
              <a:spcAft>
                <a:spcPts val="800"/>
              </a:spcAft>
              <a:buFont typeface="Symbol" charset="2"/>
              <a:buChar char="-"/>
            </a:pPr>
            <a:endParaRPr lang="de-CH" sz="1600" err="1">
              <a:solidFill>
                <a:schemeClr val="tx1"/>
              </a:solidFill>
            </a:endParaRPr>
          </a:p>
        </p:txBody>
      </p:sp>
      <p:sp>
        <p:nvSpPr>
          <p:cNvPr id="13" name="Textplatzhalter 2">
            <a:extLst>
              <a:ext uri="{FF2B5EF4-FFF2-40B4-BE49-F238E27FC236}">
                <a16:creationId xmlns:a16="http://schemas.microsoft.com/office/drawing/2014/main" id="{0CA3C8A8-2E9B-9840-8212-53FA3EAFFDCE}"/>
              </a:ext>
            </a:extLst>
          </p:cNvPr>
          <p:cNvSpPr>
            <a:spLocks noGrp="1"/>
          </p:cNvSpPr>
          <p:nvPr>
            <p:ph type="body" sz="quarter" idx="12"/>
          </p:nvPr>
        </p:nvSpPr>
        <p:spPr>
          <a:xfrm>
            <a:off x="479426" y="3933056"/>
            <a:ext cx="3240310" cy="2304256"/>
          </a:xfrm>
        </p:spPr>
        <p:txBody>
          <a:bodyPr anchor="t"/>
          <a:lstStyle>
            <a:lvl1pPr>
              <a:defRPr sz="1600">
                <a:solidFill>
                  <a:schemeClr val="bg1"/>
                </a:solidFill>
                <a:latin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p:txBody>
      </p:sp>
      <p:sp>
        <p:nvSpPr>
          <p:cNvPr id="4" name="Titel 3">
            <a:extLst>
              <a:ext uri="{FF2B5EF4-FFF2-40B4-BE49-F238E27FC236}">
                <a16:creationId xmlns:a16="http://schemas.microsoft.com/office/drawing/2014/main" id="{E3F11117-9A72-D545-9F9F-37B9C209B0A4}"/>
              </a:ext>
            </a:extLst>
          </p:cNvPr>
          <p:cNvSpPr>
            <a:spLocks noGrp="1"/>
          </p:cNvSpPr>
          <p:nvPr>
            <p:ph type="title" hasCustomPrompt="1"/>
          </p:nvPr>
        </p:nvSpPr>
        <p:spPr>
          <a:xfrm>
            <a:off x="479375" y="1700894"/>
            <a:ext cx="3240341" cy="1872000"/>
          </a:xfrm>
        </p:spPr>
        <p:txBody>
          <a:bodyPr anchor="b"/>
          <a:lstStyle>
            <a:lvl1pPr>
              <a:defRPr sz="2800">
                <a:solidFill>
                  <a:schemeClr val="bg1"/>
                </a:solidFill>
              </a:defRPr>
            </a:lvl1pPr>
          </a:lstStyle>
          <a:p>
            <a:r>
              <a:rPr lang="de-DE"/>
              <a:t>Mastertitelformat </a:t>
            </a:r>
            <a:br>
              <a:rPr lang="de-DE"/>
            </a:br>
            <a:r>
              <a:rPr lang="de-DE"/>
              <a:t>bearbeiten</a:t>
            </a:r>
            <a:endParaRPr lang="de-CH"/>
          </a:p>
        </p:txBody>
      </p:sp>
      <p:sp>
        <p:nvSpPr>
          <p:cNvPr id="10" name="Inhaltsplatzhalter 13">
            <a:extLst>
              <a:ext uri="{FF2B5EF4-FFF2-40B4-BE49-F238E27FC236}">
                <a16:creationId xmlns:a16="http://schemas.microsoft.com/office/drawing/2014/main" id="{E2354AF7-7E45-8945-A758-D95EF0BF8D4A}"/>
              </a:ext>
            </a:extLst>
          </p:cNvPr>
          <p:cNvSpPr>
            <a:spLocks noGrp="1"/>
          </p:cNvSpPr>
          <p:nvPr>
            <p:ph sz="quarter" idx="15"/>
          </p:nvPr>
        </p:nvSpPr>
        <p:spPr>
          <a:xfrm>
            <a:off x="4296790" y="476250"/>
            <a:ext cx="7344348" cy="576055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grpSp>
        <p:nvGrpSpPr>
          <p:cNvPr id="12" name="Gruppieren 11">
            <a:extLst>
              <a:ext uri="{FF2B5EF4-FFF2-40B4-BE49-F238E27FC236}">
                <a16:creationId xmlns:a16="http://schemas.microsoft.com/office/drawing/2014/main" id="{F9BA3A4B-A750-1D4D-89E7-B392366F61A5}"/>
              </a:ext>
            </a:extLst>
          </p:cNvPr>
          <p:cNvGrpSpPr>
            <a:grpSpLocks/>
          </p:cNvGrpSpPr>
          <p:nvPr userDrawn="1"/>
        </p:nvGrpSpPr>
        <p:grpSpPr bwMode="auto">
          <a:xfrm>
            <a:off x="1" y="575692"/>
            <a:ext cx="1847527" cy="798612"/>
            <a:chOff x="1060156" y="1339914"/>
            <a:chExt cx="4435100" cy="1917364"/>
          </a:xfrm>
        </p:grpSpPr>
        <p:pic>
          <p:nvPicPr>
            <p:cNvPr id="17" name="Picture 11" descr="tile_paper_medgray">
              <a:extLst>
                <a:ext uri="{FF2B5EF4-FFF2-40B4-BE49-F238E27FC236}">
                  <a16:creationId xmlns:a16="http://schemas.microsoft.com/office/drawing/2014/main" id="{67190F98-630C-3A44-AE9A-392F5D75F8F3}"/>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8" name="Grafik 5">
              <a:extLst>
                <a:ext uri="{FF2B5EF4-FFF2-40B4-BE49-F238E27FC236}">
                  <a16:creationId xmlns:a16="http://schemas.microsoft.com/office/drawing/2014/main" id="{D427755C-1846-3043-8CD3-C70864881754}"/>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282239" y="1673424"/>
              <a:ext cx="2780969" cy="12587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564073381"/>
      </p:ext>
    </p:extLst>
  </p:cSld>
  <p:clrMapOvr>
    <a:masterClrMapping/>
  </p:clrMapOvr>
  <p:extLst>
    <p:ext uri="{DCECCB84-F9BA-43D5-87BE-67443E8EF086}">
      <p15:sldGuideLst xmlns:p15="http://schemas.microsoft.com/office/powerpoint/2012/main">
        <p15:guide id="1" pos="2525" userDrawn="1">
          <p15:clr>
            <a:srgbClr val="FBAE40"/>
          </p15:clr>
        </p15:guide>
        <p15:guide id="2" pos="2706" userDrawn="1">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Inhalt Balken unten">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4" name="Inhaltsplatzhalter 3">
            <a:extLst>
              <a:ext uri="{FF2B5EF4-FFF2-40B4-BE49-F238E27FC236}">
                <a16:creationId xmlns:a16="http://schemas.microsoft.com/office/drawing/2014/main" id="{C8151A74-6D18-0A47-A038-4F8D9F2B423B}"/>
              </a:ext>
            </a:extLst>
          </p:cNvPr>
          <p:cNvSpPr>
            <a:spLocks noGrp="1"/>
          </p:cNvSpPr>
          <p:nvPr>
            <p:ph sz="quarter" idx="18"/>
          </p:nvPr>
        </p:nvSpPr>
        <p:spPr>
          <a:xfrm>
            <a:off x="479376" y="1700808"/>
            <a:ext cx="11161240" cy="216024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
        <p:nvSpPr>
          <p:cNvPr id="5" name="Bildplatzhalter 4">
            <a:extLst>
              <a:ext uri="{FF2B5EF4-FFF2-40B4-BE49-F238E27FC236}">
                <a16:creationId xmlns:a16="http://schemas.microsoft.com/office/drawing/2014/main" id="{2AB3BA33-B595-6444-A33D-58D8528B4D9C}"/>
              </a:ext>
            </a:extLst>
          </p:cNvPr>
          <p:cNvSpPr>
            <a:spLocks noGrp="1"/>
          </p:cNvSpPr>
          <p:nvPr>
            <p:ph type="pic" sz="quarter" idx="19"/>
          </p:nvPr>
        </p:nvSpPr>
        <p:spPr>
          <a:xfrm>
            <a:off x="0" y="4221088"/>
            <a:ext cx="12192000" cy="2636912"/>
          </a:xfrm>
          <a:solidFill>
            <a:schemeClr val="accent1"/>
          </a:solidFill>
        </p:spPr>
        <p:txBody>
          <a:bodyPr/>
          <a:lstStyle>
            <a:lvl1pPr>
              <a:defRPr sz="400">
                <a:solidFill>
                  <a:schemeClr val="tx2"/>
                </a:solidFill>
              </a:defRPr>
            </a:lvl1pPr>
          </a:lstStyle>
          <a:p>
            <a:r>
              <a:rPr lang="de-DE"/>
              <a:t>Bild durch Klicken auf Symbol hinzufügen</a:t>
            </a:r>
          </a:p>
        </p:txBody>
      </p:sp>
      <p:sp>
        <p:nvSpPr>
          <p:cNvPr id="7" name="Textplatzhalter 6">
            <a:extLst>
              <a:ext uri="{FF2B5EF4-FFF2-40B4-BE49-F238E27FC236}">
                <a16:creationId xmlns:a16="http://schemas.microsoft.com/office/drawing/2014/main" id="{AFC478DA-3748-4843-8176-CBD7745962A0}"/>
              </a:ext>
            </a:extLst>
          </p:cNvPr>
          <p:cNvSpPr>
            <a:spLocks noGrp="1"/>
          </p:cNvSpPr>
          <p:nvPr>
            <p:ph type="body" sz="quarter" idx="20"/>
          </p:nvPr>
        </p:nvSpPr>
        <p:spPr>
          <a:xfrm>
            <a:off x="6888163" y="4437063"/>
            <a:ext cx="4752975" cy="180022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Tree>
    <p:extLst>
      <p:ext uri="{BB962C8B-B14F-4D97-AF65-F5344CB8AC3E}">
        <p14:creationId xmlns:p14="http://schemas.microsoft.com/office/powerpoint/2010/main" val="3841740317"/>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Inhalt 1">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9" name="Datumsplatzhalter 8">
            <a:extLst>
              <a:ext uri="{FF2B5EF4-FFF2-40B4-BE49-F238E27FC236}">
                <a16:creationId xmlns:a16="http://schemas.microsoft.com/office/drawing/2014/main" id="{35044502-875A-4AA2-970F-0512B317C2AE}"/>
              </a:ext>
            </a:extLst>
          </p:cNvPr>
          <p:cNvSpPr>
            <a:spLocks noGrp="1"/>
          </p:cNvSpPr>
          <p:nvPr>
            <p:ph type="dt" sz="half" idx="15"/>
          </p:nvPr>
        </p:nvSpPr>
        <p:spPr/>
        <p:txBody>
          <a:bodyPr/>
          <a:lstStyle/>
          <a:p>
            <a:pPr>
              <a:defRPr/>
            </a:pPr>
            <a:endParaRPr lang="de-DE"/>
          </a:p>
        </p:txBody>
      </p:sp>
      <p:sp>
        <p:nvSpPr>
          <p:cNvPr id="10" name="Fußzeilenplatzhalter 9">
            <a:extLst>
              <a:ext uri="{FF2B5EF4-FFF2-40B4-BE49-F238E27FC236}">
                <a16:creationId xmlns:a16="http://schemas.microsoft.com/office/drawing/2014/main" id="{3AAD7420-F8F1-4875-9EAB-FE911DAE25F7}"/>
              </a:ext>
            </a:extLst>
          </p:cNvPr>
          <p:cNvSpPr>
            <a:spLocks noGrp="1"/>
          </p:cNvSpPr>
          <p:nvPr>
            <p:ph type="ftr" sz="quarter" idx="16"/>
          </p:nvPr>
        </p:nvSpPr>
        <p:spPr/>
        <p:txBody>
          <a:bodyPr/>
          <a:lstStyle/>
          <a:p>
            <a:pPr>
              <a:defRPr/>
            </a:pPr>
            <a:endParaRPr lang="de-DE" altLang="de-DE">
              <a:solidFill>
                <a:schemeClr val="tx2"/>
              </a:solidFill>
            </a:endParaRPr>
          </a:p>
        </p:txBody>
      </p:sp>
      <p:sp>
        <p:nvSpPr>
          <p:cNvPr id="11" name="Foliennummernplatzhalter 10">
            <a:extLst>
              <a:ext uri="{FF2B5EF4-FFF2-40B4-BE49-F238E27FC236}">
                <a16:creationId xmlns:a16="http://schemas.microsoft.com/office/drawing/2014/main" id="{01B3890A-331A-48D2-8E21-B2D49BDAD525}"/>
              </a:ext>
            </a:extLst>
          </p:cNvPr>
          <p:cNvSpPr>
            <a:spLocks noGrp="1"/>
          </p:cNvSpPr>
          <p:nvPr>
            <p:ph type="sldNum" sz="quarter" idx="17"/>
          </p:nvPr>
        </p:nvSpPr>
        <p:spPr/>
        <p:txBody>
          <a:bodyPr/>
          <a:lstStyle/>
          <a:p>
            <a:pPr>
              <a:defRPr/>
            </a:pPr>
            <a:fld id="{DE15152C-7E44-A94B-BCD8-272D3D1F368E}" type="slidenum">
              <a:rPr lang="de-DE" altLang="de-DE" smtClean="0"/>
              <a:pPr>
                <a:defRPr/>
              </a:pPr>
              <a:t>‹Nr.›</a:t>
            </a:fld>
            <a:endParaRPr lang="de-DE" altLang="de-DE" sz="900"/>
          </a:p>
        </p:txBody>
      </p:sp>
      <p:sp>
        <p:nvSpPr>
          <p:cNvPr id="4" name="Inhaltsplatzhalter 3">
            <a:extLst>
              <a:ext uri="{FF2B5EF4-FFF2-40B4-BE49-F238E27FC236}">
                <a16:creationId xmlns:a16="http://schemas.microsoft.com/office/drawing/2014/main" id="{C8151A74-6D18-0A47-A038-4F8D9F2B423B}"/>
              </a:ext>
            </a:extLst>
          </p:cNvPr>
          <p:cNvSpPr>
            <a:spLocks noGrp="1"/>
          </p:cNvSpPr>
          <p:nvPr>
            <p:ph sz="quarter" idx="18"/>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CH"/>
          </a:p>
        </p:txBody>
      </p:sp>
    </p:spTree>
    <p:extLst>
      <p:ext uri="{BB962C8B-B14F-4D97-AF65-F5344CB8AC3E}">
        <p14:creationId xmlns:p14="http://schemas.microsoft.com/office/powerpoint/2010/main" val="317529507"/>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theme" Target="../theme/theme1.xml"/><Relationship Id="rId20"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kt 1" hidden="1">
            <a:extLst>
              <a:ext uri="{FF2B5EF4-FFF2-40B4-BE49-F238E27FC236}">
                <a16:creationId xmlns:a16="http://schemas.microsoft.com/office/drawing/2014/main" id="{B5E57A14-CE6F-4EB0-8BCF-49F3799DE85E}"/>
              </a:ext>
            </a:extLst>
          </p:cNvPr>
          <p:cNvGraphicFramePr>
            <a:graphicFrameLocks noChangeAspect="1"/>
          </p:cNvGraphicFramePr>
          <p:nvPr userDrawn="1">
            <p:custDataLst>
              <p:tags r:id="rId17"/>
            </p:custDataLst>
            <p:extLst>
              <p:ext uri="{D42A27DB-BD31-4B8C-83A1-F6EECF244321}">
                <p14:modId xmlns:p14="http://schemas.microsoft.com/office/powerpoint/2010/main" val="1206420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8" imgW="360" imgH="360" progId="TCLayout.ActiveDocument.1">
                  <p:embed/>
                </p:oleObj>
              </mc:Choice>
              <mc:Fallback>
                <p:oleObj name="think-cell Folie" r:id="rId18" imgW="360" imgH="360" progId="TCLayout.ActiveDocument.1">
                  <p:embed/>
                  <p:pic>
                    <p:nvPicPr>
                      <p:cNvPr id="2" name="Objekt 1" hidden="1">
                        <a:extLst>
                          <a:ext uri="{FF2B5EF4-FFF2-40B4-BE49-F238E27FC236}">
                            <a16:creationId xmlns:a16="http://schemas.microsoft.com/office/drawing/2014/main" id="{B5E57A14-CE6F-4EB0-8BCF-49F3799DE85E}"/>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1026" name="Titelplatzhalter 1">
            <a:extLst>
              <a:ext uri="{FF2B5EF4-FFF2-40B4-BE49-F238E27FC236}">
                <a16:creationId xmlns:a16="http://schemas.microsoft.com/office/drawing/2014/main" id="{5D5473E4-565E-5B45-9A10-17CAB42A8834}"/>
              </a:ext>
            </a:extLst>
          </p:cNvPr>
          <p:cNvSpPr>
            <a:spLocks noGrp="1"/>
          </p:cNvSpPr>
          <p:nvPr>
            <p:ph type="title"/>
          </p:nvPr>
        </p:nvSpPr>
        <p:spPr bwMode="auto">
          <a:xfrm>
            <a:off x="479376" y="476672"/>
            <a:ext cx="11161240"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itelmasterformat</a:t>
            </a:r>
          </a:p>
        </p:txBody>
      </p:sp>
      <p:sp>
        <p:nvSpPr>
          <p:cNvPr id="1027" name="Textplatzhalter 2">
            <a:extLst>
              <a:ext uri="{FF2B5EF4-FFF2-40B4-BE49-F238E27FC236}">
                <a16:creationId xmlns:a16="http://schemas.microsoft.com/office/drawing/2014/main" id="{10A64EF5-B9D3-364D-A3C6-676737F820C0}"/>
              </a:ext>
            </a:extLst>
          </p:cNvPr>
          <p:cNvSpPr>
            <a:spLocks noGrp="1"/>
          </p:cNvSpPr>
          <p:nvPr>
            <p:ph type="body" idx="1"/>
          </p:nvPr>
        </p:nvSpPr>
        <p:spPr bwMode="auto">
          <a:xfrm>
            <a:off x="479376" y="1700808"/>
            <a:ext cx="11161240" cy="4536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de-DE" altLang="de-DE"/>
              <a:t>Textmasterformate durch Klicken bearbeiten</a:t>
            </a:r>
          </a:p>
          <a:p>
            <a:pPr lvl="1"/>
            <a:r>
              <a:rPr lang="de-DE" altLang="de-DE"/>
              <a:t>Zweite Ebene</a:t>
            </a:r>
          </a:p>
          <a:p>
            <a:pPr lvl="2"/>
            <a:r>
              <a:rPr lang="de-DE" altLang="de-DE"/>
              <a:t>Dritte Ebene</a:t>
            </a:r>
          </a:p>
          <a:p>
            <a:pPr lvl="3"/>
            <a:r>
              <a:rPr lang="de-DE" altLang="de-DE"/>
              <a:t>Vierte Ebene</a:t>
            </a:r>
          </a:p>
          <a:p>
            <a:pPr lvl="4"/>
            <a:r>
              <a:rPr lang="de-DE" altLang="de-DE"/>
              <a:t>Fünfte Ebene</a:t>
            </a:r>
          </a:p>
        </p:txBody>
      </p:sp>
      <p:sp>
        <p:nvSpPr>
          <p:cNvPr id="19" name="Datumsplatzhalter 3">
            <a:extLst>
              <a:ext uri="{FF2B5EF4-FFF2-40B4-BE49-F238E27FC236}">
                <a16:creationId xmlns:a16="http://schemas.microsoft.com/office/drawing/2014/main" id="{95FC08EB-39A3-5E4B-B8AE-F5C1A06FE098}"/>
              </a:ext>
            </a:extLst>
          </p:cNvPr>
          <p:cNvSpPr>
            <a:spLocks noGrp="1"/>
          </p:cNvSpPr>
          <p:nvPr>
            <p:ph type="dt" sz="half" idx="2"/>
          </p:nvPr>
        </p:nvSpPr>
        <p:spPr>
          <a:xfrm>
            <a:off x="1487489" y="6453360"/>
            <a:ext cx="504055" cy="216000"/>
          </a:xfrm>
          <a:prstGeom prst="rect">
            <a:avLst/>
          </a:prstGeom>
        </p:spPr>
        <p:txBody>
          <a:bodyPr lIns="0" tIns="0" rIns="0" bIns="0" anchor="ctr" anchorCtr="0"/>
          <a:lstStyle>
            <a:lvl1pPr algn="l" defTabSz="1038917" eaLnBrk="1" fontAlgn="auto" hangingPunct="1">
              <a:lnSpc>
                <a:spcPct val="100000"/>
              </a:lnSpc>
              <a:spcBef>
                <a:spcPts val="0"/>
              </a:spcBef>
              <a:spcAft>
                <a:spcPts val="800"/>
              </a:spcAft>
              <a:defRPr sz="700" b="0" i="0">
                <a:solidFill>
                  <a:schemeClr val="tx2"/>
                </a:solidFill>
                <a:latin typeface="+mj-lt"/>
                <a:ea typeface="+mn-ea"/>
                <a:cs typeface="+mn-cs"/>
              </a:defRPr>
            </a:lvl1pPr>
          </a:lstStyle>
          <a:p>
            <a:pPr>
              <a:defRPr/>
            </a:pPr>
            <a:endParaRPr lang="de-DE"/>
          </a:p>
        </p:txBody>
      </p:sp>
      <p:sp>
        <p:nvSpPr>
          <p:cNvPr id="20" name="Fußzeilenplatzhalter 4">
            <a:extLst>
              <a:ext uri="{FF2B5EF4-FFF2-40B4-BE49-F238E27FC236}">
                <a16:creationId xmlns:a16="http://schemas.microsoft.com/office/drawing/2014/main" id="{B82E4888-1C2A-1F4F-B57F-E934C3F18E52}"/>
              </a:ext>
            </a:extLst>
          </p:cNvPr>
          <p:cNvSpPr>
            <a:spLocks noGrp="1"/>
          </p:cNvSpPr>
          <p:nvPr>
            <p:ph type="ftr" sz="quarter" idx="3"/>
          </p:nvPr>
        </p:nvSpPr>
        <p:spPr>
          <a:xfrm>
            <a:off x="1991544" y="6453359"/>
            <a:ext cx="4896544" cy="216000"/>
          </a:xfrm>
          <a:prstGeom prst="rect">
            <a:avLst/>
          </a:prstGeom>
        </p:spPr>
        <p:txBody>
          <a:bodyPr vert="horz" wrap="square" lIns="0" tIns="0" rIns="0" bIns="0" numCol="1" anchor="ctr" anchorCtr="0" compatLnSpc="1">
            <a:prstTxWarp prst="textNoShape">
              <a:avLst/>
            </a:prstTxWarp>
          </a:bodyPr>
          <a:lstStyle>
            <a:lvl1pPr algn="l" eaLnBrk="1" hangingPunct="1">
              <a:lnSpc>
                <a:spcPct val="100000"/>
              </a:lnSpc>
              <a:spcBef>
                <a:spcPts val="0"/>
              </a:spcBef>
              <a:spcAft>
                <a:spcPts val="800"/>
              </a:spcAft>
              <a:defRPr sz="700" b="0" i="0">
                <a:solidFill>
                  <a:schemeClr val="tx2"/>
                </a:solidFill>
                <a:latin typeface="+mj-lt"/>
              </a:defRPr>
            </a:lvl1pPr>
          </a:lstStyle>
          <a:p>
            <a:pPr>
              <a:defRPr/>
            </a:pPr>
            <a:endParaRPr lang="de-DE" altLang="de-DE"/>
          </a:p>
        </p:txBody>
      </p:sp>
      <p:sp>
        <p:nvSpPr>
          <p:cNvPr id="21" name="Foliennummernplatzhalter 5">
            <a:extLst>
              <a:ext uri="{FF2B5EF4-FFF2-40B4-BE49-F238E27FC236}">
                <a16:creationId xmlns:a16="http://schemas.microsoft.com/office/drawing/2014/main" id="{0CBB8638-350E-EF40-8D79-C1D749BB822D}"/>
              </a:ext>
            </a:extLst>
          </p:cNvPr>
          <p:cNvSpPr>
            <a:spLocks noGrp="1"/>
          </p:cNvSpPr>
          <p:nvPr>
            <p:ph type="sldNum" sz="quarter" idx="4"/>
          </p:nvPr>
        </p:nvSpPr>
        <p:spPr>
          <a:xfrm>
            <a:off x="1199456" y="6453360"/>
            <a:ext cx="216024" cy="216000"/>
          </a:xfrm>
          <a:prstGeom prst="rect">
            <a:avLst/>
          </a:prstGeom>
        </p:spPr>
        <p:txBody>
          <a:bodyPr vert="horz" wrap="square" lIns="0" tIns="0" rIns="0" bIns="0" numCol="1" anchor="ctr" anchorCtr="0" compatLnSpc="1">
            <a:prstTxWarp prst="textNoShape">
              <a:avLst/>
            </a:prstTxWarp>
          </a:bodyPr>
          <a:lstStyle>
            <a:lvl1pPr algn="r" eaLnBrk="1" hangingPunct="1">
              <a:lnSpc>
                <a:spcPct val="100000"/>
              </a:lnSpc>
              <a:spcBef>
                <a:spcPts val="0"/>
              </a:spcBef>
              <a:spcAft>
                <a:spcPts val="800"/>
              </a:spcAft>
              <a:defRPr sz="700" b="1" i="0">
                <a:solidFill>
                  <a:schemeClr val="tx2"/>
                </a:solidFill>
                <a:latin typeface="+mj-lt"/>
              </a:defRPr>
            </a:lvl1pPr>
          </a:lstStyle>
          <a:p>
            <a:pPr>
              <a:defRPr/>
            </a:pPr>
            <a:fld id="{DE15152C-7E44-A94B-BCD8-272D3D1F368E}" type="slidenum">
              <a:rPr lang="de-DE" altLang="de-DE" smtClean="0"/>
              <a:pPr>
                <a:defRPr/>
              </a:pPr>
              <a:t>‹Nr.›</a:t>
            </a:fld>
            <a:endParaRPr lang="de-DE" altLang="de-DE"/>
          </a:p>
        </p:txBody>
      </p:sp>
      <p:pic>
        <p:nvPicPr>
          <p:cNvPr id="8" name="Grafik 5">
            <a:extLst>
              <a:ext uri="{FF2B5EF4-FFF2-40B4-BE49-F238E27FC236}">
                <a16:creationId xmlns:a16="http://schemas.microsoft.com/office/drawing/2014/main" id="{25E21941-F0AC-FA42-973C-214A53588209}"/>
              </a:ext>
            </a:extLst>
          </p:cNvPr>
          <p:cNvPicPr>
            <a:picLocks noChangeAspect="1"/>
          </p:cNvPicPr>
          <p:nvPr userDrawn="1"/>
        </p:nvPicPr>
        <p:blipFill>
          <a:blip r:embed="rId20">
            <a:extLst>
              <a:ext uri="{28A0092B-C50C-407E-A947-70E740481C1C}">
                <a14:useLocalDpi xmlns:a14="http://schemas.microsoft.com/office/drawing/2010/main" val="0"/>
              </a:ext>
            </a:extLst>
          </a:blip>
          <a:srcRect/>
          <a:stretch>
            <a:fillRect/>
          </a:stretch>
        </p:blipFill>
        <p:spPr bwMode="auto">
          <a:xfrm>
            <a:off x="479376" y="6435359"/>
            <a:ext cx="556736" cy="25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80101597"/>
      </p:ext>
    </p:extLst>
  </p:cSld>
  <p:clrMap bg1="lt1" tx1="dk1" bg2="lt2" tx2="dk2" accent1="accent1" accent2="accent2" accent3="accent3" accent4="accent4" accent5="accent5" accent6="accent6" hlink="hlink" folHlink="folHlink"/>
  <p:sldLayoutIdLst>
    <p:sldLayoutId id="2147483720" r:id="rId1"/>
    <p:sldLayoutId id="2147483727" r:id="rId2"/>
    <p:sldLayoutId id="2147483728" r:id="rId3"/>
    <p:sldLayoutId id="2147483711" r:id="rId4"/>
    <p:sldLayoutId id="2147483723" r:id="rId5"/>
    <p:sldLayoutId id="2147483724" r:id="rId6"/>
    <p:sldLayoutId id="2147483722" r:id="rId7"/>
    <p:sldLayoutId id="2147483725" r:id="rId8"/>
    <p:sldLayoutId id="2147483667" r:id="rId9"/>
    <p:sldLayoutId id="2147483665" r:id="rId10"/>
    <p:sldLayoutId id="2147483668" r:id="rId11"/>
    <p:sldLayoutId id="2147483696" r:id="rId12"/>
    <p:sldLayoutId id="2147483718" r:id="rId13"/>
    <p:sldLayoutId id="2147483713" r:id="rId14"/>
    <p:sldLayoutId id="2147483672" r:id="rId15"/>
  </p:sldLayoutIdLst>
  <p:hf sldNum="0" hdr="0" ftr="0" dt="0"/>
  <p:txStyles>
    <p:title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p:titleStyle>
    <p:body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p:bodyStyle>
    <p:otherStyle>
      <a:defPPr>
        <a:defRPr lang="de-DE"/>
      </a:defPPr>
      <a:lvl1pPr marL="0" algn="l" defTabSz="1038917" rtl="0" eaLnBrk="1" latinLnBrk="0" hangingPunct="1">
        <a:defRPr sz="2133" kern="1200">
          <a:solidFill>
            <a:schemeClr val="tx1"/>
          </a:solidFill>
          <a:latin typeface="+mn-lt"/>
          <a:ea typeface="+mn-ea"/>
          <a:cs typeface="+mn-cs"/>
        </a:defRPr>
      </a:lvl1pPr>
      <a:lvl2pPr marL="519458" algn="l" defTabSz="1038917" rtl="0" eaLnBrk="1" latinLnBrk="0" hangingPunct="1">
        <a:defRPr sz="2133" kern="1200">
          <a:solidFill>
            <a:schemeClr val="tx1"/>
          </a:solidFill>
          <a:latin typeface="+mn-lt"/>
          <a:ea typeface="+mn-ea"/>
          <a:cs typeface="+mn-cs"/>
        </a:defRPr>
      </a:lvl2pPr>
      <a:lvl3pPr marL="1038917" algn="l" defTabSz="1038917" rtl="0" eaLnBrk="1" latinLnBrk="0" hangingPunct="1">
        <a:defRPr sz="2133" kern="1200">
          <a:solidFill>
            <a:schemeClr val="tx1"/>
          </a:solidFill>
          <a:latin typeface="+mn-lt"/>
          <a:ea typeface="+mn-ea"/>
          <a:cs typeface="+mn-cs"/>
        </a:defRPr>
      </a:lvl3pPr>
      <a:lvl4pPr marL="1558376" algn="l" defTabSz="1038917" rtl="0" eaLnBrk="1" latinLnBrk="0" hangingPunct="1">
        <a:defRPr sz="2133" kern="1200">
          <a:solidFill>
            <a:schemeClr val="tx1"/>
          </a:solidFill>
          <a:latin typeface="+mn-lt"/>
          <a:ea typeface="+mn-ea"/>
          <a:cs typeface="+mn-cs"/>
        </a:defRPr>
      </a:lvl4pPr>
      <a:lvl5pPr marL="2077835" algn="l" defTabSz="1038917" rtl="0" eaLnBrk="1" latinLnBrk="0" hangingPunct="1">
        <a:defRPr sz="2133" kern="1200">
          <a:solidFill>
            <a:schemeClr val="tx1"/>
          </a:solidFill>
          <a:latin typeface="+mn-lt"/>
          <a:ea typeface="+mn-ea"/>
          <a:cs typeface="+mn-cs"/>
        </a:defRPr>
      </a:lvl5pPr>
      <a:lvl6pPr marL="2597294" algn="l" defTabSz="1038917" rtl="0" eaLnBrk="1" latinLnBrk="0" hangingPunct="1">
        <a:defRPr sz="2133" kern="1200">
          <a:solidFill>
            <a:schemeClr val="tx1"/>
          </a:solidFill>
          <a:latin typeface="+mn-lt"/>
          <a:ea typeface="+mn-ea"/>
          <a:cs typeface="+mn-cs"/>
        </a:defRPr>
      </a:lvl6pPr>
      <a:lvl7pPr marL="3116753" algn="l" defTabSz="1038917" rtl="0" eaLnBrk="1" latinLnBrk="0" hangingPunct="1">
        <a:defRPr sz="2133" kern="1200">
          <a:solidFill>
            <a:schemeClr val="tx1"/>
          </a:solidFill>
          <a:latin typeface="+mn-lt"/>
          <a:ea typeface="+mn-ea"/>
          <a:cs typeface="+mn-cs"/>
        </a:defRPr>
      </a:lvl7pPr>
      <a:lvl8pPr marL="3636212" algn="l" defTabSz="1038917" rtl="0" eaLnBrk="1" latinLnBrk="0" hangingPunct="1">
        <a:defRPr sz="2133" kern="1200">
          <a:solidFill>
            <a:schemeClr val="tx1"/>
          </a:solidFill>
          <a:latin typeface="+mn-lt"/>
          <a:ea typeface="+mn-ea"/>
          <a:cs typeface="+mn-cs"/>
        </a:defRPr>
      </a:lvl8pPr>
      <a:lvl9pPr marL="4155671" algn="l" defTabSz="1038917" rtl="0" eaLnBrk="1" latinLnBrk="0" hangingPunct="1">
        <a:defRPr sz="2133"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02" userDrawn="1">
          <p15:clr>
            <a:srgbClr val="F26B43"/>
          </p15:clr>
        </p15:guide>
        <p15:guide id="2" pos="7333" userDrawn="1">
          <p15:clr>
            <a:srgbClr val="F26B43"/>
          </p15:clr>
        </p15:guide>
        <p15:guide id="3" orient="horz" pos="1071" userDrawn="1">
          <p15:clr>
            <a:srgbClr val="F26B43"/>
          </p15:clr>
        </p15:guide>
        <p15:guide id="4" orient="horz" pos="3929" userDrawn="1">
          <p15:clr>
            <a:srgbClr val="F26B43"/>
          </p15:clr>
        </p15:guide>
        <p15:guide id="5" orient="horz" pos="30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5.jpeg"/><Relationship Id="rId1" Type="http://schemas.openxmlformats.org/officeDocument/2006/relationships/slideLayout" Target="../slideLayouts/slideLayout1.xm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1.xml"/><Relationship Id="rId1" Type="http://schemas.openxmlformats.org/officeDocument/2006/relationships/tags" Target="../tags/tag10.x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9.bin"/></Relationships>
</file>

<file path=ppt/slides/_rels/slide11.xml.rels><?xml version="1.0" encoding="UTF-8" standalone="yes"?>
<Relationships xmlns="http://schemas.openxmlformats.org/package/2006/relationships"><Relationship Id="rId8" Type="http://schemas.openxmlformats.org/officeDocument/2006/relationships/image" Target="../media/image8.png"/><Relationship Id="rId13" Type="http://schemas.openxmlformats.org/officeDocument/2006/relationships/image" Target="../media/image12.png"/><Relationship Id="rId3" Type="http://schemas.openxmlformats.org/officeDocument/2006/relationships/notesSlide" Target="../notesSlides/notesSlide4.xml"/><Relationship Id="rId7" Type="http://schemas.openxmlformats.org/officeDocument/2006/relationships/hyperlink" Target="https://amnistreasury.com/de" TargetMode="External"/><Relationship Id="rId12" Type="http://schemas.openxmlformats.org/officeDocument/2006/relationships/hyperlink" Target="https://app.amnistreasury.com/create-a-wir-account" TargetMode="External"/><Relationship Id="rId2" Type="http://schemas.openxmlformats.org/officeDocument/2006/relationships/slideLayout" Target="../slideLayouts/slideLayout11.xml"/><Relationship Id="rId1" Type="http://schemas.openxmlformats.org/officeDocument/2006/relationships/tags" Target="../tags/tag11.xml"/><Relationship Id="rId6" Type="http://schemas.openxmlformats.org/officeDocument/2006/relationships/image" Target="../media/image6.png"/><Relationship Id="rId11" Type="http://schemas.openxmlformats.org/officeDocument/2006/relationships/image" Target="../media/image11.png"/><Relationship Id="rId5" Type="http://schemas.openxmlformats.org/officeDocument/2006/relationships/image" Target="../media/image7.emf"/><Relationship Id="rId10" Type="http://schemas.openxmlformats.org/officeDocument/2006/relationships/image" Target="../media/image10.png"/><Relationship Id="rId4" Type="http://schemas.openxmlformats.org/officeDocument/2006/relationships/oleObject" Target="../embeddings/oleObject10.bin"/><Relationship Id="rId9" Type="http://schemas.openxmlformats.org/officeDocument/2006/relationships/image" Target="../media/image9.png"/></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15.xml"/><Relationship Id="rId1" Type="http://schemas.openxmlformats.org/officeDocument/2006/relationships/tags" Target="../tags/tag3.xml"/><Relationship Id="rId5" Type="http://schemas.openxmlformats.org/officeDocument/2006/relationships/image" Target="../media/image6.pn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2.xml"/><Relationship Id="rId7" Type="http://schemas.openxmlformats.org/officeDocument/2006/relationships/hyperlink" Target="https://amnistreasury.com/de/fremdwaehrungen-internationale-zahlungen-kmu/" TargetMode="External"/><Relationship Id="rId2" Type="http://schemas.openxmlformats.org/officeDocument/2006/relationships/slideLayout" Target="../slideLayouts/slideLayout11.xml"/><Relationship Id="rId1" Type="http://schemas.openxmlformats.org/officeDocument/2006/relationships/tags" Target="../tags/tag4.xml"/><Relationship Id="rId6" Type="http://schemas.openxmlformats.org/officeDocument/2006/relationships/image" Target="../media/image6.png"/><Relationship Id="rId5" Type="http://schemas.openxmlformats.org/officeDocument/2006/relationships/image" Target="../media/image7.emf"/><Relationship Id="rId4" Type="http://schemas.openxmlformats.org/officeDocument/2006/relationships/oleObject" Target="../embeddings/oleObject3.bin"/></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15.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15.xml"/><Relationship Id="rId1" Type="http://schemas.openxmlformats.org/officeDocument/2006/relationships/tags" Target="../tags/tag6.xml"/><Relationship Id="rId5" Type="http://schemas.openxmlformats.org/officeDocument/2006/relationships/image" Target="../media/image6.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Layout" Target="../slideLayouts/slideLayout15.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1.emf"/></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Layout" Target="../slideLayouts/slideLayout15.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1.emf"/></Relationships>
</file>

<file path=ppt/slides/_rels/slide9.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Layout" Target="../slideLayouts/slideLayout15.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emf"/></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Bildplatzhalter 5">
            <a:extLst>
              <a:ext uri="{FF2B5EF4-FFF2-40B4-BE49-F238E27FC236}">
                <a16:creationId xmlns:a16="http://schemas.microsoft.com/office/drawing/2014/main" id="{240E6135-F520-4DFF-9EAE-4BF16DB26EA9}"/>
              </a:ext>
            </a:extLst>
          </p:cNvPr>
          <p:cNvPicPr>
            <a:picLocks noGrp="1" noChangeAspect="1"/>
          </p:cNvPicPr>
          <p:nvPr>
            <p:ph type="pic" sz="quarter" idx="18"/>
          </p:nvPr>
        </p:nvPicPr>
        <p:blipFill>
          <a:blip r:embed="rId2"/>
          <a:srcRect/>
          <a:stretch/>
        </p:blipFill>
        <p:spPr>
          <a:xfrm>
            <a:off x="-1" y="0"/>
            <a:ext cx="12192000" cy="6858000"/>
          </a:xfrm>
        </p:spPr>
      </p:pic>
      <p:sp>
        <p:nvSpPr>
          <p:cNvPr id="32" name="Bildplatzhalter 31">
            <a:extLst>
              <a:ext uri="{FF2B5EF4-FFF2-40B4-BE49-F238E27FC236}">
                <a16:creationId xmlns:a16="http://schemas.microsoft.com/office/drawing/2014/main" id="{69770FAB-4275-6046-8068-771C0ABEA6E0}"/>
              </a:ext>
            </a:extLst>
          </p:cNvPr>
          <p:cNvSpPr>
            <a:spLocks noGrp="1"/>
          </p:cNvSpPr>
          <p:nvPr>
            <p:ph type="pic" sz="quarter" idx="19"/>
          </p:nvPr>
        </p:nvSpPr>
        <p:spPr/>
        <p:txBody>
          <a:bodyPr/>
          <a:lstStyle/>
          <a:p>
            <a:endParaRPr lang="de-CH"/>
          </a:p>
        </p:txBody>
      </p:sp>
      <p:sp>
        <p:nvSpPr>
          <p:cNvPr id="4" name="Textplatzhalter 3">
            <a:extLst>
              <a:ext uri="{FF2B5EF4-FFF2-40B4-BE49-F238E27FC236}">
                <a16:creationId xmlns:a16="http://schemas.microsoft.com/office/drawing/2014/main" id="{2BD9EA5B-C46B-3E4D-A554-11ED4499612D}"/>
              </a:ext>
            </a:extLst>
          </p:cNvPr>
          <p:cNvSpPr>
            <a:spLocks noGrp="1"/>
          </p:cNvSpPr>
          <p:nvPr>
            <p:ph type="body" sz="quarter" idx="20"/>
          </p:nvPr>
        </p:nvSpPr>
        <p:spPr>
          <a:xfrm>
            <a:off x="1558926" y="4067863"/>
            <a:ext cx="8450666" cy="1264550"/>
          </a:xfrm>
          <a:solidFill>
            <a:srgbClr val="E6140A"/>
          </a:solidFill>
        </p:spPr>
        <p:txBody>
          <a:bodyPr/>
          <a:lstStyle/>
          <a:p>
            <a:pPr marL="0" indent="0">
              <a:buNone/>
            </a:pPr>
            <a:r>
              <a:rPr lang="de-CH" dirty="0" err="1">
                <a:latin typeface="HelveticaNeueLT Com 55 Roman" panose="020B0604020202020204" pitchFamily="34" charset="0"/>
              </a:rPr>
              <a:t>amnis</a:t>
            </a:r>
            <a:r>
              <a:rPr lang="de-CH" dirty="0">
                <a:latin typeface="HelveticaNeueLT Com 55 Roman" panose="020B0604020202020204" pitchFamily="34" charset="0"/>
              </a:rPr>
              <a:t> </a:t>
            </a:r>
          </a:p>
          <a:p>
            <a:pPr marL="0" indent="0">
              <a:buNone/>
            </a:pPr>
            <a:r>
              <a:rPr lang="de-CH" sz="3200" b="0" dirty="0">
                <a:latin typeface="Corona LT" panose="02000604020000090004" pitchFamily="2" charset="0"/>
              </a:rPr>
              <a:t>All-in-</a:t>
            </a:r>
            <a:r>
              <a:rPr lang="de-CH" sz="3200" b="0" dirty="0" err="1">
                <a:latin typeface="Corona LT" panose="02000604020000090004" pitchFamily="2" charset="0"/>
              </a:rPr>
              <a:t>One</a:t>
            </a:r>
            <a:r>
              <a:rPr lang="de-CH" sz="3200" b="0" dirty="0">
                <a:latin typeface="Corona LT" panose="02000604020000090004" pitchFamily="2" charset="0"/>
              </a:rPr>
              <a:t> Konto für Ihr Global Banking</a:t>
            </a:r>
            <a:endParaRPr lang="de-CH" sz="3200" dirty="0">
              <a:latin typeface="Corona LT" panose="02000604020000090004" pitchFamily="2" charset="0"/>
            </a:endParaRPr>
          </a:p>
        </p:txBody>
      </p:sp>
      <p:sp>
        <p:nvSpPr>
          <p:cNvPr id="11" name="Textplatzhalter 10">
            <a:extLst>
              <a:ext uri="{FF2B5EF4-FFF2-40B4-BE49-F238E27FC236}">
                <a16:creationId xmlns:a16="http://schemas.microsoft.com/office/drawing/2014/main" id="{198DCC86-07EE-0E47-B8D1-D5EF190F5C7B}"/>
              </a:ext>
            </a:extLst>
          </p:cNvPr>
          <p:cNvSpPr>
            <a:spLocks noGrp="1"/>
          </p:cNvSpPr>
          <p:nvPr>
            <p:ph type="body" sz="quarter" idx="21"/>
          </p:nvPr>
        </p:nvSpPr>
        <p:spPr>
          <a:xfrm rot="16200000">
            <a:off x="11334983" y="5596318"/>
            <a:ext cx="514582" cy="1199455"/>
          </a:xfrm>
        </p:spPr>
        <p:txBody>
          <a:bodyPr/>
          <a:lstStyle/>
          <a:p>
            <a:r>
              <a:rPr lang="de-CH" dirty="0">
                <a:solidFill>
                  <a:srgbClr val="E6140A"/>
                </a:solidFill>
              </a:rPr>
              <a:t>wir</a:t>
            </a:r>
            <a:r>
              <a:rPr lang="de-CH" dirty="0">
                <a:solidFill>
                  <a:schemeClr val="bg1">
                    <a:lumMod val="50000"/>
                  </a:schemeClr>
                </a:solidFill>
              </a:rPr>
              <a:t>.ch</a:t>
            </a:r>
          </a:p>
        </p:txBody>
      </p:sp>
      <p:grpSp>
        <p:nvGrpSpPr>
          <p:cNvPr id="34" name="Gruppieren 33">
            <a:extLst>
              <a:ext uri="{FF2B5EF4-FFF2-40B4-BE49-F238E27FC236}">
                <a16:creationId xmlns:a16="http://schemas.microsoft.com/office/drawing/2014/main" id="{3801553F-94AD-3440-81EE-1A955B7EB04C}"/>
              </a:ext>
            </a:extLst>
          </p:cNvPr>
          <p:cNvGrpSpPr>
            <a:grpSpLocks/>
          </p:cNvGrpSpPr>
          <p:nvPr/>
        </p:nvGrpSpPr>
        <p:grpSpPr bwMode="auto">
          <a:xfrm>
            <a:off x="1" y="575693"/>
            <a:ext cx="1847528" cy="798612"/>
            <a:chOff x="1060156" y="1339914"/>
            <a:chExt cx="4435100" cy="1917364"/>
          </a:xfrm>
        </p:grpSpPr>
        <p:pic>
          <p:nvPicPr>
            <p:cNvPr id="36" name="Picture 11" descr="tile_paper_medgray">
              <a:extLst>
                <a:ext uri="{FF2B5EF4-FFF2-40B4-BE49-F238E27FC236}">
                  <a16:creationId xmlns:a16="http://schemas.microsoft.com/office/drawing/2014/main" id="{4A3724F8-6C4A-6E42-836E-DF7EB01643C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5037" r="-1"/>
            <a:stretch/>
          </p:blipFill>
          <p:spPr bwMode="auto">
            <a:xfrm>
              <a:off x="1060156" y="1339914"/>
              <a:ext cx="4435100" cy="19173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7" name="Grafik 5">
              <a:extLst>
                <a:ext uri="{FF2B5EF4-FFF2-40B4-BE49-F238E27FC236}">
                  <a16:creationId xmlns:a16="http://schemas.microsoft.com/office/drawing/2014/main" id="{04597F0A-3E3B-B842-8126-B200F5F2E0A7}"/>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282238" y="1673424"/>
              <a:ext cx="2780970" cy="12587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8004399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8" name="Gruppieren 7"/>
          <p:cNvGrpSpPr/>
          <p:nvPr/>
        </p:nvGrpSpPr>
        <p:grpSpPr>
          <a:xfrm>
            <a:off x="479768" y="1619819"/>
            <a:ext cx="10944823" cy="565328"/>
            <a:chOff x="2711623" y="1351086"/>
            <a:chExt cx="10504785" cy="646881"/>
          </a:xfrm>
        </p:grpSpPr>
        <p:sp>
          <p:nvSpPr>
            <p:cNvPr id="75" name="Rechteck 74">
              <a:extLst>
                <a:ext uri="{FF2B5EF4-FFF2-40B4-BE49-F238E27FC236}">
                  <a16:creationId xmlns:a16="http://schemas.microsoft.com/office/drawing/2014/main" id="{4A704E81-A661-4947-B146-2A16527E80D1}"/>
                </a:ext>
              </a:extLst>
            </p:cNvPr>
            <p:cNvSpPr/>
            <p:nvPr/>
          </p:nvSpPr>
          <p:spPr>
            <a:xfrm>
              <a:off x="5220710" y="1351087"/>
              <a:ext cx="2520280" cy="618175"/>
            </a:xfrm>
            <a:prstGeom prst="rect">
              <a:avLst/>
            </a:prstGeom>
            <a:solidFill>
              <a:srgbClr val="D4E6E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74" name="Rechteck 73">
              <a:extLst>
                <a:ext uri="{FF2B5EF4-FFF2-40B4-BE49-F238E27FC236}">
                  <a16:creationId xmlns:a16="http://schemas.microsoft.com/office/drawing/2014/main" id="{4A704E81-A661-4947-B146-2A16527E80D1}"/>
                </a:ext>
              </a:extLst>
            </p:cNvPr>
            <p:cNvSpPr/>
            <p:nvPr/>
          </p:nvSpPr>
          <p:spPr>
            <a:xfrm>
              <a:off x="2711623" y="1351086"/>
              <a:ext cx="10504785" cy="618175"/>
            </a:xfrm>
            <a:prstGeom prst="rect">
              <a:avLst/>
            </a:prstGeom>
            <a:solidFill>
              <a:srgbClr val="28828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73" name="Titel 3">
              <a:extLst>
                <a:ext uri="{FF2B5EF4-FFF2-40B4-BE49-F238E27FC236}">
                  <a16:creationId xmlns:a16="http://schemas.microsoft.com/office/drawing/2014/main" id="{41338E64-746C-42F4-B5A5-97E5A6DEDFDF}"/>
                </a:ext>
              </a:extLst>
            </p:cNvPr>
            <p:cNvSpPr txBox="1">
              <a:spLocks/>
            </p:cNvSpPr>
            <p:nvPr/>
          </p:nvSpPr>
          <p:spPr bwMode="auto">
            <a:xfrm>
              <a:off x="2711623" y="1429277"/>
              <a:ext cx="10504785" cy="5686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ctr" defTabSz="1035025" rtl="0" eaLnBrk="1" fontAlgn="base" latinLnBrk="0" hangingPunct="1">
                <a:lnSpc>
                  <a:spcPct val="100000"/>
                </a:lnSpc>
                <a:spcBef>
                  <a:spcPts val="0"/>
                </a:spcBef>
                <a:spcAft>
                  <a:spcPts val="0"/>
                </a:spcAft>
                <a:buClrTx/>
                <a:buSzTx/>
                <a:buFontTx/>
                <a:buNone/>
                <a:tabLst/>
                <a:defRPr/>
              </a:pPr>
              <a:r>
                <a:rPr kumimoji="0" lang="de-CH" sz="1400" b="1" i="0" u="none" strike="noStrike" kern="1200" cap="none" spc="0" normalizeH="0" baseline="0" noProof="0" dirty="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Jährliche Zahlung</a:t>
              </a:r>
              <a:endParaRPr kumimoji="0" lang="de-CH" sz="14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ctr" defTabSz="1035025" rtl="0" eaLnBrk="1" fontAlgn="base" latinLnBrk="0" hangingPunct="1">
                <a:lnSpc>
                  <a:spcPct val="100000"/>
                </a:lnSpc>
                <a:spcBef>
                  <a:spcPts val="0"/>
                </a:spcBef>
                <a:spcAft>
                  <a:spcPts val="0"/>
                </a:spcAft>
                <a:buClrTx/>
                <a:buSzTx/>
                <a:buFontTx/>
                <a:buNone/>
                <a:tabLst/>
                <a:defRPr/>
              </a:pPr>
              <a:r>
                <a:rPr kumimoji="0" lang="de-CH" sz="1400" b="0" i="0" u="none" strike="noStrike" kern="1200" cap="none" spc="0" normalizeH="0" baseline="0" noProof="0" dirty="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16% sparen -&gt; 2 Monate kostenlos</a:t>
              </a:r>
            </a:p>
          </p:txBody>
        </p:sp>
      </p:grpSp>
      <p:sp>
        <p:nvSpPr>
          <p:cNvPr id="68" name="Rechteck 67">
            <a:extLst>
              <a:ext uri="{FF2B5EF4-FFF2-40B4-BE49-F238E27FC236}">
                <a16:creationId xmlns:a16="http://schemas.microsoft.com/office/drawing/2014/main" id="{4A704E81-A661-4947-B146-2A16527E80D1}"/>
              </a:ext>
            </a:extLst>
          </p:cNvPr>
          <p:cNvSpPr/>
          <p:nvPr/>
        </p:nvSpPr>
        <p:spPr>
          <a:xfrm>
            <a:off x="4178754" y="2396714"/>
            <a:ext cx="3528392" cy="395856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982A51C-0EA9-494D-BA52-786D9AAE58E2}"/>
              </a:ext>
            </a:extLst>
          </p:cNvPr>
          <p:cNvSpPr/>
          <p:nvPr/>
        </p:nvSpPr>
        <p:spPr>
          <a:xfrm>
            <a:off x="479768" y="2396713"/>
            <a:ext cx="3528392" cy="3958569"/>
          </a:xfrm>
          <a:prstGeom prst="rect">
            <a:avLst/>
          </a:prstGeom>
          <a:solidFill>
            <a:srgbClr val="D4E6E8"/>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62" name="Google Shape;2233;p27">
            <a:extLst>
              <a:ext uri="{FF2B5EF4-FFF2-40B4-BE49-F238E27FC236}">
                <a16:creationId xmlns:a16="http://schemas.microsoft.com/office/drawing/2014/main" id="{7E94D69A-D7DC-4B14-AF49-75854757DEC1}"/>
              </a:ext>
            </a:extLst>
          </p:cNvPr>
          <p:cNvSpPr/>
          <p:nvPr/>
        </p:nvSpPr>
        <p:spPr>
          <a:xfrm>
            <a:off x="8531524" y="2643218"/>
            <a:ext cx="732828" cy="353733"/>
          </a:xfrm>
          <a:custGeom>
            <a:avLst/>
            <a:gdLst/>
            <a:ahLst/>
            <a:cxnLst/>
            <a:rect l="l" t="t" r="r" b="b"/>
            <a:pathLst>
              <a:path w="306916" h="148147" extrusionOk="0">
                <a:moveTo>
                  <a:pt x="160338" y="145040"/>
                </a:moveTo>
                <a:cubicBezTo>
                  <a:pt x="160338" y="148744"/>
                  <a:pt x="157692" y="151390"/>
                  <a:pt x="153987" y="151390"/>
                </a:cubicBezTo>
                <a:lnTo>
                  <a:pt x="27517" y="151390"/>
                </a:lnTo>
                <a:lnTo>
                  <a:pt x="27517" y="151390"/>
                </a:lnTo>
                <a:cubicBezTo>
                  <a:pt x="25929" y="151390"/>
                  <a:pt x="24342" y="150860"/>
                  <a:pt x="22754" y="149273"/>
                </a:cubicBezTo>
                <a:cubicBezTo>
                  <a:pt x="21696" y="148215"/>
                  <a:pt x="20637" y="146628"/>
                  <a:pt x="20637" y="144511"/>
                </a:cubicBezTo>
                <a:lnTo>
                  <a:pt x="20637" y="81549"/>
                </a:lnTo>
                <a:lnTo>
                  <a:pt x="6350" y="81549"/>
                </a:lnTo>
                <a:cubicBezTo>
                  <a:pt x="2646" y="81549"/>
                  <a:pt x="0" y="78903"/>
                  <a:pt x="0" y="75200"/>
                </a:cubicBezTo>
                <a:lnTo>
                  <a:pt x="0" y="23348"/>
                </a:lnTo>
                <a:cubicBezTo>
                  <a:pt x="0" y="19644"/>
                  <a:pt x="2646" y="16999"/>
                  <a:pt x="6350" y="16999"/>
                </a:cubicBezTo>
                <a:lnTo>
                  <a:pt x="112183" y="16999"/>
                </a:lnTo>
                <a:lnTo>
                  <a:pt x="104246" y="11708"/>
                </a:lnTo>
                <a:cubicBezTo>
                  <a:pt x="101600" y="9591"/>
                  <a:pt x="100542" y="5888"/>
                  <a:pt x="102658" y="2713"/>
                </a:cubicBezTo>
                <a:cubicBezTo>
                  <a:pt x="104775" y="67"/>
                  <a:pt x="108479" y="-990"/>
                  <a:pt x="111654" y="1126"/>
                </a:cubicBezTo>
                <a:lnTo>
                  <a:pt x="135996" y="18057"/>
                </a:lnTo>
                <a:cubicBezTo>
                  <a:pt x="137583" y="19115"/>
                  <a:pt x="138642" y="21231"/>
                  <a:pt x="138642" y="23348"/>
                </a:cubicBezTo>
                <a:cubicBezTo>
                  <a:pt x="138642" y="25464"/>
                  <a:pt x="137583" y="27581"/>
                  <a:pt x="135467" y="28639"/>
                </a:cubicBezTo>
                <a:lnTo>
                  <a:pt x="111125" y="42395"/>
                </a:lnTo>
                <a:cubicBezTo>
                  <a:pt x="110067" y="42925"/>
                  <a:pt x="109008" y="43454"/>
                  <a:pt x="107950" y="43454"/>
                </a:cubicBezTo>
                <a:cubicBezTo>
                  <a:pt x="105833" y="43454"/>
                  <a:pt x="103717" y="42395"/>
                  <a:pt x="102658" y="40279"/>
                </a:cubicBezTo>
                <a:cubicBezTo>
                  <a:pt x="101071" y="37104"/>
                  <a:pt x="102129" y="33401"/>
                  <a:pt x="105304" y="31813"/>
                </a:cubicBezTo>
                <a:lnTo>
                  <a:pt x="109008" y="29697"/>
                </a:lnTo>
                <a:lnTo>
                  <a:pt x="13229" y="29697"/>
                </a:lnTo>
                <a:lnTo>
                  <a:pt x="13229" y="68850"/>
                </a:lnTo>
                <a:lnTo>
                  <a:pt x="21696" y="68850"/>
                </a:lnTo>
                <a:lnTo>
                  <a:pt x="21696" y="42925"/>
                </a:lnTo>
                <a:cubicBezTo>
                  <a:pt x="21696" y="39221"/>
                  <a:pt x="24342" y="36575"/>
                  <a:pt x="28046" y="36575"/>
                </a:cubicBezTo>
                <a:cubicBezTo>
                  <a:pt x="31750" y="36575"/>
                  <a:pt x="34396" y="39221"/>
                  <a:pt x="34396" y="42925"/>
                </a:cubicBezTo>
                <a:lnTo>
                  <a:pt x="34396" y="138162"/>
                </a:lnTo>
                <a:lnTo>
                  <a:pt x="154517" y="138162"/>
                </a:lnTo>
                <a:lnTo>
                  <a:pt x="154517" y="138162"/>
                </a:lnTo>
                <a:cubicBezTo>
                  <a:pt x="157692" y="138691"/>
                  <a:pt x="160338" y="141337"/>
                  <a:pt x="160338" y="145040"/>
                </a:cubicBezTo>
                <a:close/>
                <a:moveTo>
                  <a:pt x="153987" y="31813"/>
                </a:moveTo>
                <a:cubicBezTo>
                  <a:pt x="178329" y="31813"/>
                  <a:pt x="197908" y="51390"/>
                  <a:pt x="197908" y="75729"/>
                </a:cubicBezTo>
                <a:cubicBezTo>
                  <a:pt x="197908" y="100067"/>
                  <a:pt x="178329" y="119644"/>
                  <a:pt x="153987" y="119644"/>
                </a:cubicBezTo>
                <a:cubicBezTo>
                  <a:pt x="129646" y="119644"/>
                  <a:pt x="110067" y="100067"/>
                  <a:pt x="110067" y="75729"/>
                </a:cubicBezTo>
                <a:cubicBezTo>
                  <a:pt x="110067" y="51390"/>
                  <a:pt x="129646" y="31813"/>
                  <a:pt x="153987" y="31813"/>
                </a:cubicBezTo>
                <a:close/>
                <a:moveTo>
                  <a:pt x="122767" y="75729"/>
                </a:moveTo>
                <a:cubicBezTo>
                  <a:pt x="122767" y="93189"/>
                  <a:pt x="136525" y="106945"/>
                  <a:pt x="153987" y="106945"/>
                </a:cubicBezTo>
                <a:cubicBezTo>
                  <a:pt x="171450" y="106945"/>
                  <a:pt x="185208" y="93189"/>
                  <a:pt x="185208" y="75729"/>
                </a:cubicBezTo>
                <a:cubicBezTo>
                  <a:pt x="185208" y="58268"/>
                  <a:pt x="171450" y="44512"/>
                  <a:pt x="153987" y="44512"/>
                </a:cubicBezTo>
                <a:cubicBezTo>
                  <a:pt x="136525" y="44512"/>
                  <a:pt x="122767" y="58798"/>
                  <a:pt x="122767" y="75729"/>
                </a:cubicBezTo>
                <a:close/>
                <a:moveTo>
                  <a:pt x="241829" y="108532"/>
                </a:moveTo>
                <a:cubicBezTo>
                  <a:pt x="245533" y="108532"/>
                  <a:pt x="248179" y="105887"/>
                  <a:pt x="248179" y="102183"/>
                </a:cubicBezTo>
                <a:lnTo>
                  <a:pt x="248179" y="47157"/>
                </a:lnTo>
                <a:cubicBezTo>
                  <a:pt x="248179" y="44512"/>
                  <a:pt x="246592" y="42395"/>
                  <a:pt x="244475" y="41337"/>
                </a:cubicBezTo>
                <a:lnTo>
                  <a:pt x="225954" y="32343"/>
                </a:lnTo>
                <a:cubicBezTo>
                  <a:pt x="224896" y="31813"/>
                  <a:pt x="223838" y="31813"/>
                  <a:pt x="223308" y="31813"/>
                </a:cubicBezTo>
                <a:lnTo>
                  <a:pt x="207433" y="31813"/>
                </a:lnTo>
                <a:cubicBezTo>
                  <a:pt x="203729" y="31813"/>
                  <a:pt x="201083" y="34459"/>
                  <a:pt x="201083" y="38163"/>
                </a:cubicBezTo>
                <a:cubicBezTo>
                  <a:pt x="201083" y="41866"/>
                  <a:pt x="203729" y="44512"/>
                  <a:pt x="207433" y="44512"/>
                </a:cubicBezTo>
                <a:lnTo>
                  <a:pt x="222250" y="44512"/>
                </a:lnTo>
                <a:lnTo>
                  <a:pt x="236008" y="51390"/>
                </a:lnTo>
                <a:lnTo>
                  <a:pt x="236008" y="102712"/>
                </a:lnTo>
                <a:cubicBezTo>
                  <a:pt x="235479" y="105887"/>
                  <a:pt x="238654" y="108532"/>
                  <a:pt x="241829" y="108532"/>
                </a:cubicBezTo>
                <a:close/>
                <a:moveTo>
                  <a:pt x="65617" y="42925"/>
                </a:moveTo>
                <a:cubicBezTo>
                  <a:pt x="61912" y="42925"/>
                  <a:pt x="59267" y="45570"/>
                  <a:pt x="59267" y="49274"/>
                </a:cubicBezTo>
                <a:lnTo>
                  <a:pt x="59267" y="104300"/>
                </a:lnTo>
                <a:cubicBezTo>
                  <a:pt x="59267" y="106945"/>
                  <a:pt x="60854" y="109062"/>
                  <a:pt x="62971" y="110120"/>
                </a:cubicBezTo>
                <a:lnTo>
                  <a:pt x="81492" y="119114"/>
                </a:lnTo>
                <a:cubicBezTo>
                  <a:pt x="82550" y="119644"/>
                  <a:pt x="83608" y="119644"/>
                  <a:pt x="84137" y="119644"/>
                </a:cubicBezTo>
                <a:lnTo>
                  <a:pt x="100012" y="119644"/>
                </a:lnTo>
                <a:cubicBezTo>
                  <a:pt x="103717" y="119644"/>
                  <a:pt x="106362" y="116998"/>
                  <a:pt x="106362" y="113294"/>
                </a:cubicBezTo>
                <a:cubicBezTo>
                  <a:pt x="106362" y="109591"/>
                  <a:pt x="103717" y="106945"/>
                  <a:pt x="100012" y="106945"/>
                </a:cubicBezTo>
                <a:lnTo>
                  <a:pt x="85725" y="106945"/>
                </a:lnTo>
                <a:lnTo>
                  <a:pt x="71967" y="100067"/>
                </a:lnTo>
                <a:lnTo>
                  <a:pt x="71967" y="48745"/>
                </a:lnTo>
                <a:cubicBezTo>
                  <a:pt x="71967" y="45570"/>
                  <a:pt x="69321" y="42925"/>
                  <a:pt x="65617" y="42925"/>
                </a:cubicBezTo>
                <a:close/>
                <a:moveTo>
                  <a:pt x="302683" y="69380"/>
                </a:moveTo>
                <a:lnTo>
                  <a:pt x="286808" y="69380"/>
                </a:lnTo>
                <a:lnTo>
                  <a:pt x="286808" y="6946"/>
                </a:lnTo>
                <a:cubicBezTo>
                  <a:pt x="286808" y="3243"/>
                  <a:pt x="284162" y="597"/>
                  <a:pt x="280458" y="597"/>
                </a:cubicBezTo>
                <a:lnTo>
                  <a:pt x="153987" y="597"/>
                </a:lnTo>
                <a:cubicBezTo>
                  <a:pt x="150283" y="597"/>
                  <a:pt x="147637" y="3243"/>
                  <a:pt x="147637" y="6946"/>
                </a:cubicBezTo>
                <a:cubicBezTo>
                  <a:pt x="147637" y="10649"/>
                  <a:pt x="150283" y="13295"/>
                  <a:pt x="153987" y="13295"/>
                </a:cubicBezTo>
                <a:lnTo>
                  <a:pt x="274108" y="13295"/>
                </a:lnTo>
                <a:lnTo>
                  <a:pt x="274108" y="105887"/>
                </a:lnTo>
                <a:cubicBezTo>
                  <a:pt x="274108" y="109591"/>
                  <a:pt x="276754" y="112236"/>
                  <a:pt x="280458" y="112236"/>
                </a:cubicBezTo>
                <a:cubicBezTo>
                  <a:pt x="284162" y="112236"/>
                  <a:pt x="286808" y="109591"/>
                  <a:pt x="286808" y="105887"/>
                </a:cubicBezTo>
                <a:lnTo>
                  <a:pt x="286808" y="82607"/>
                </a:lnTo>
                <a:lnTo>
                  <a:pt x="296333" y="82607"/>
                </a:lnTo>
                <a:lnTo>
                  <a:pt x="296333" y="121760"/>
                </a:lnTo>
                <a:lnTo>
                  <a:pt x="200554" y="121760"/>
                </a:lnTo>
                <a:lnTo>
                  <a:pt x="204258" y="119644"/>
                </a:lnTo>
                <a:cubicBezTo>
                  <a:pt x="207433" y="118056"/>
                  <a:pt x="208492" y="113823"/>
                  <a:pt x="206904" y="111178"/>
                </a:cubicBezTo>
                <a:cubicBezTo>
                  <a:pt x="205317" y="108003"/>
                  <a:pt x="201083" y="106945"/>
                  <a:pt x="198438" y="108532"/>
                </a:cubicBezTo>
                <a:lnTo>
                  <a:pt x="174096" y="122289"/>
                </a:lnTo>
                <a:cubicBezTo>
                  <a:pt x="171979" y="123347"/>
                  <a:pt x="170921" y="125464"/>
                  <a:pt x="170921" y="127580"/>
                </a:cubicBezTo>
                <a:cubicBezTo>
                  <a:pt x="170921" y="129696"/>
                  <a:pt x="171979" y="131813"/>
                  <a:pt x="173567" y="132871"/>
                </a:cubicBezTo>
                <a:lnTo>
                  <a:pt x="197908" y="149802"/>
                </a:lnTo>
                <a:cubicBezTo>
                  <a:pt x="198967" y="150331"/>
                  <a:pt x="200025" y="150860"/>
                  <a:pt x="201612" y="150860"/>
                </a:cubicBezTo>
                <a:cubicBezTo>
                  <a:pt x="203729" y="150860"/>
                  <a:pt x="205846" y="149802"/>
                  <a:pt x="206904" y="148215"/>
                </a:cubicBezTo>
                <a:cubicBezTo>
                  <a:pt x="209021" y="145569"/>
                  <a:pt x="207963" y="141337"/>
                  <a:pt x="205317" y="139220"/>
                </a:cubicBezTo>
                <a:lnTo>
                  <a:pt x="197379" y="133929"/>
                </a:lnTo>
                <a:lnTo>
                  <a:pt x="303213" y="133929"/>
                </a:lnTo>
                <a:cubicBezTo>
                  <a:pt x="306917" y="133929"/>
                  <a:pt x="309563" y="131284"/>
                  <a:pt x="309563" y="127580"/>
                </a:cubicBezTo>
                <a:lnTo>
                  <a:pt x="309563" y="75729"/>
                </a:lnTo>
                <a:cubicBezTo>
                  <a:pt x="309033" y="72025"/>
                  <a:pt x="306387" y="69380"/>
                  <a:pt x="302683" y="69380"/>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29" name="Rechteck 28">
            <a:extLst>
              <a:ext uri="{FF2B5EF4-FFF2-40B4-BE49-F238E27FC236}">
                <a16:creationId xmlns:a16="http://schemas.microsoft.com/office/drawing/2014/main" id="{4A704E81-A661-4947-B146-2A16527E80D1}"/>
              </a:ext>
            </a:extLst>
          </p:cNvPr>
          <p:cNvSpPr/>
          <p:nvPr/>
        </p:nvSpPr>
        <p:spPr>
          <a:xfrm>
            <a:off x="7896200" y="2396714"/>
            <a:ext cx="3528392" cy="3958568"/>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16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18" name="Rechteck 17">
            <a:extLst>
              <a:ext uri="{FF2B5EF4-FFF2-40B4-BE49-F238E27FC236}">
                <a16:creationId xmlns:a16="http://schemas.microsoft.com/office/drawing/2014/main" id="{8982A51C-0EA9-494D-BA52-786D9AAE58E2}"/>
              </a:ext>
            </a:extLst>
          </p:cNvPr>
          <p:cNvSpPr/>
          <p:nvPr/>
        </p:nvSpPr>
        <p:spPr>
          <a:xfrm>
            <a:off x="479768" y="2204864"/>
            <a:ext cx="3528392"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Starter</a:t>
            </a:r>
          </a:p>
        </p:txBody>
      </p:sp>
      <p:sp>
        <p:nvSpPr>
          <p:cNvPr id="21" name="Rechteck 20">
            <a:extLst>
              <a:ext uri="{FF2B5EF4-FFF2-40B4-BE49-F238E27FC236}">
                <a16:creationId xmlns:a16="http://schemas.microsoft.com/office/drawing/2014/main" id="{8982A51C-0EA9-494D-BA52-786D9AAE58E2}"/>
              </a:ext>
            </a:extLst>
          </p:cNvPr>
          <p:cNvSpPr/>
          <p:nvPr/>
        </p:nvSpPr>
        <p:spPr>
          <a:xfrm>
            <a:off x="4178754" y="2453156"/>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de-DE" sz="1400" dirty="0">
              <a:solidFill>
                <a:srgbClr val="28828B"/>
              </a:solidFill>
              <a:latin typeface="Corona LT"/>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600" b="1" i="0" u="none" strike="noStrike" kern="1200" cap="none" spc="0" normalizeH="0" baseline="0" noProof="0" dirty="0">
                <a:ln>
                  <a:noFill/>
                </a:ln>
                <a:solidFill>
                  <a:srgbClr val="28828B"/>
                </a:solidFill>
                <a:effectLst/>
                <a:uLnTx/>
                <a:uFillTx/>
                <a:latin typeface="HelveticaNeueLT Com 55 Roman"/>
                <a:ea typeface="+mn-ea"/>
                <a:cs typeface="+mn-cs"/>
              </a:rPr>
              <a:t>CHF 49/Mon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mj-lt"/>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Lokale Kontoverbindungen für 5 Währu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Kostenlose lokale Überweisungen und Zahlungseingänge in EUR, CHF, GBP, USD und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10 kostenlose monatliche SWIFT-Überweisungen in 200+ Län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mj-lt"/>
                <a:ea typeface="+mn-ea"/>
                <a:cs typeface="+mn-cs"/>
              </a:rPr>
              <a:t>CARDS</a:t>
            </a: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50 physische Multi-Währungs-Debitka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Unbegrenzte virtuelle Ka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Spesen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mj-lt"/>
                <a:ea typeface="+mn-ea"/>
                <a:cs typeface="+mn-cs"/>
              </a:rPr>
              <a:t>EXCHANGE</a:t>
            </a: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err="1">
                <a:ln>
                  <a:noFill/>
                </a:ln>
                <a:solidFill>
                  <a:srgbClr val="28828B"/>
                </a:solidFill>
                <a:effectLst/>
                <a:uLnTx/>
                <a:uFillTx/>
                <a:latin typeface="+mj-lt"/>
                <a:ea typeface="+mn-ea"/>
                <a:cs typeface="+mn-cs"/>
              </a:rPr>
              <a:t>Währungswechel</a:t>
            </a:r>
            <a:r>
              <a:rPr kumimoji="0" lang="de-DE" sz="1100" b="0" i="0" u="none" strike="noStrike" kern="1200" cap="none" spc="0" normalizeH="0" baseline="0" noProof="0" dirty="0">
                <a:ln>
                  <a:noFill/>
                </a:ln>
                <a:solidFill>
                  <a:srgbClr val="28828B"/>
                </a:solidFill>
                <a:effectLst/>
                <a:uLnTx/>
                <a:uFillTx/>
                <a:latin typeface="+mj-lt"/>
                <a:ea typeface="+mn-ea"/>
                <a:cs typeface="+mn-cs"/>
              </a:rPr>
              <a:t> zum Mittelkurs </a:t>
            </a:r>
            <a:r>
              <a:rPr kumimoji="0" lang="de-DE" sz="1100" b="1" i="0" u="none" strike="noStrike" kern="1200" cap="none" spc="0" normalizeH="0" baseline="0" noProof="0" dirty="0">
                <a:ln>
                  <a:noFill/>
                </a:ln>
                <a:solidFill>
                  <a:srgbClr val="28828B"/>
                </a:solidFill>
                <a:effectLst/>
                <a:uLnTx/>
                <a:uFillTx/>
                <a:latin typeface="+mj-lt"/>
                <a:ea typeface="+mn-ea"/>
                <a:cs typeface="+mn-cs"/>
              </a:rPr>
              <a:t>+0.3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p:txBody>
      </p:sp>
      <p:sp>
        <p:nvSpPr>
          <p:cNvPr id="23" name="Rechteck 22">
            <a:extLst>
              <a:ext uri="{FF2B5EF4-FFF2-40B4-BE49-F238E27FC236}">
                <a16:creationId xmlns:a16="http://schemas.microsoft.com/office/drawing/2014/main" id="{8982A51C-0EA9-494D-BA52-786D9AAE58E2}"/>
              </a:ext>
            </a:extLst>
          </p:cNvPr>
          <p:cNvSpPr/>
          <p:nvPr/>
        </p:nvSpPr>
        <p:spPr>
          <a:xfrm>
            <a:off x="7896200" y="2453156"/>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br>
              <a:rPr kumimoji="0" lang="de-DE" sz="1400" b="0" i="0" u="none" strike="noStrike" kern="1200" cap="none" spc="0" normalizeH="0" baseline="0" noProof="0" dirty="0">
                <a:ln>
                  <a:noFill/>
                </a:ln>
                <a:solidFill>
                  <a:srgbClr val="28828B"/>
                </a:solidFill>
                <a:effectLst/>
                <a:uLnTx/>
                <a:uFillTx/>
                <a:latin typeface="Corona LT"/>
                <a:ea typeface="+mn-ea"/>
                <a:cs typeface="+mn-cs"/>
              </a:rPr>
            </a:br>
            <a:r>
              <a:rPr kumimoji="0" lang="de-CH" sz="2600" b="1" i="0" u="none" strike="noStrike" kern="1200" cap="none" spc="0" normalizeH="0" baseline="0" noProof="0" dirty="0">
                <a:ln>
                  <a:noFill/>
                </a:ln>
                <a:solidFill>
                  <a:srgbClr val="28828B"/>
                </a:solidFill>
                <a:effectLst/>
                <a:uLnTx/>
                <a:uFillTx/>
                <a:latin typeface="HelveticaNeueLT Com 55 Roman"/>
                <a:ea typeface="+mn-ea"/>
                <a:cs typeface="+mn-cs"/>
              </a:rPr>
              <a:t>CHF 199/Monat</a:t>
            </a:r>
            <a:endParaRPr kumimoji="0" lang="de-DE" sz="2600" b="1" i="0" u="none" strike="noStrike" kern="1200" cap="none" spc="0" normalizeH="0" baseline="0" noProof="0" dirty="0">
              <a:ln>
                <a:noFill/>
              </a:ln>
              <a:solidFill>
                <a:srgbClr val="28828B"/>
              </a:solidFill>
              <a:effectLst/>
              <a:uLnTx/>
              <a:uFillTx/>
              <a:latin typeface="Corona 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8828B"/>
              </a:solidFill>
              <a:effectLst/>
              <a:uLnTx/>
              <a:uFillTx/>
              <a:latin typeface="Corona 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mj-lt"/>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Lokale Kontoverbindungen für 5 Währu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Kostenlose lokale Überweisungen und Zahlungseingänge in EUR, CHF, GBP, USD und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40 kostenlose monatliche SWIFT-Überweisungen in 200+ Län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mj-lt"/>
                <a:ea typeface="+mn-ea"/>
                <a:cs typeface="+mn-cs"/>
              </a:rPr>
              <a:t>CARDS</a:t>
            </a: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250 physische Multi-Währungs-Debitka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Unbegrenzte virtuelle Ka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Spesen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mj-lt"/>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mj-lt"/>
                <a:ea typeface="+mn-ea"/>
                <a:cs typeface="+mn-cs"/>
              </a:rPr>
              <a:t>Währungswechsel zum Mittelkurs </a:t>
            </a:r>
            <a:r>
              <a:rPr kumimoji="0" lang="de-DE" sz="1100" b="1" i="0" u="none" strike="noStrike" kern="1200" cap="none" spc="0" normalizeH="0" baseline="0" noProof="0" dirty="0">
                <a:ln>
                  <a:noFill/>
                </a:ln>
                <a:solidFill>
                  <a:srgbClr val="28828B"/>
                </a:solidFill>
                <a:effectLst/>
                <a:uLnTx/>
                <a:uFillTx/>
                <a:latin typeface="+mj-lt"/>
                <a:ea typeface="+mn-ea"/>
                <a:cs typeface="+mn-cs"/>
              </a:rPr>
              <a:t>+0.20%</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mj-lt"/>
              <a:ea typeface="+mn-ea"/>
              <a:cs typeface="+mn-cs"/>
            </a:endParaRPr>
          </a:p>
        </p:txBody>
      </p:sp>
      <p:sp>
        <p:nvSpPr>
          <p:cNvPr id="65" name="Rechteck 64">
            <a:extLst>
              <a:ext uri="{FF2B5EF4-FFF2-40B4-BE49-F238E27FC236}">
                <a16:creationId xmlns:a16="http://schemas.microsoft.com/office/drawing/2014/main" id="{8982A51C-0EA9-494D-BA52-786D9AAE58E2}"/>
              </a:ext>
            </a:extLst>
          </p:cNvPr>
          <p:cNvSpPr/>
          <p:nvPr/>
        </p:nvSpPr>
        <p:spPr>
          <a:xfrm>
            <a:off x="453190" y="2591931"/>
            <a:ext cx="3528392"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54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2600" b="1" i="0" u="none" strike="noStrike" kern="1200" cap="none" spc="0" normalizeH="0" baseline="0" noProof="0" dirty="0">
                <a:ln>
                  <a:noFill/>
                </a:ln>
                <a:solidFill>
                  <a:srgbClr val="28828B"/>
                </a:solidFill>
                <a:effectLst/>
                <a:uLnTx/>
                <a:uFillTx/>
                <a:latin typeface="HelveticaNeueLT Com 55 Roman"/>
                <a:ea typeface="+mn-ea"/>
                <a:cs typeface="+mn-cs"/>
              </a:rPr>
              <a:t>CHF 0/Monat</a:t>
            </a:r>
            <a:endParaRPr kumimoji="0" lang="de-DE" sz="1400" b="0" i="0" u="none" strike="noStrike" kern="1200" cap="none" spc="0" normalizeH="0" baseline="0" noProof="0" dirty="0">
              <a:ln>
                <a:noFill/>
              </a:ln>
              <a:solidFill>
                <a:srgbClr val="28828B"/>
              </a:solidFill>
              <a:effectLst/>
              <a:uLnTx/>
              <a:uFillTx/>
              <a:latin typeface="Corona 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4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HelveticaNeueLT Com 55 Roman"/>
                <a:ea typeface="+mn-ea"/>
                <a:cs typeface="+mn-cs"/>
              </a:rPr>
              <a:t>PAY &amp; COLLEC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Lokale Kontoverbindungen für 5 Währung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Kostenlose lokale Überweisungen in den Währungen EUR, CHF, GBP, USD und C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1 kostenlose monatliche SWIFT-Überweisung in 200+ Län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HelveticaNeueLT Com 55 Roman"/>
                <a:ea typeface="+mn-ea"/>
                <a:cs typeface="+mn-cs"/>
              </a:rPr>
              <a:t>CARD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10 physische Multi-Währungs-Debitka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Unbegrenzte virtuelle Kar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Spesenmanagemen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1" i="0" u="sng" strike="noStrike" kern="1200" cap="none" spc="0" normalizeH="0" baseline="0" noProof="0" dirty="0">
                <a:ln>
                  <a:noFill/>
                </a:ln>
                <a:solidFill>
                  <a:srgbClr val="28828B"/>
                </a:solidFill>
                <a:effectLst/>
                <a:uLnTx/>
                <a:uFillTx/>
                <a:latin typeface="HelveticaNeueLT Com 55 Roman"/>
                <a:ea typeface="+mn-ea"/>
                <a:cs typeface="+mn-cs"/>
              </a:rPr>
              <a:t>EXCHANG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sz="1100" b="0" i="0" u="none" strike="noStrike" kern="1200" cap="none" spc="0" normalizeH="0" baseline="0" noProof="0" dirty="0">
                <a:ln>
                  <a:noFill/>
                </a:ln>
                <a:solidFill>
                  <a:srgbClr val="28828B"/>
                </a:solidFill>
                <a:effectLst/>
                <a:uLnTx/>
                <a:uFillTx/>
                <a:latin typeface="HelveticaNeueLT Com 55 Roman"/>
                <a:ea typeface="+mn-ea"/>
                <a:cs typeface="+mn-cs"/>
              </a:rPr>
              <a:t>Währungswechsel zum Mittelkurs </a:t>
            </a:r>
            <a:r>
              <a:rPr kumimoji="0" lang="de-DE" sz="1100" b="1" i="0" u="none" strike="noStrike" kern="1200" cap="none" spc="0" normalizeH="0" baseline="0" noProof="0" dirty="0">
                <a:ln>
                  <a:noFill/>
                </a:ln>
                <a:solidFill>
                  <a:srgbClr val="28828B"/>
                </a:solidFill>
                <a:effectLst/>
                <a:uLnTx/>
                <a:uFillTx/>
                <a:latin typeface="HelveticaNeueLT Com 55 Roman"/>
                <a:ea typeface="+mn-ea"/>
                <a:cs typeface="+mn-cs"/>
              </a:rPr>
              <a:t>+0.40%</a:t>
            </a:r>
          </a:p>
        </p:txBody>
      </p:sp>
      <p:sp>
        <p:nvSpPr>
          <p:cNvPr id="66" name="Rechteck 65">
            <a:extLst>
              <a:ext uri="{FF2B5EF4-FFF2-40B4-BE49-F238E27FC236}">
                <a16:creationId xmlns:a16="http://schemas.microsoft.com/office/drawing/2014/main" id="{8982A51C-0EA9-494D-BA52-786D9AAE58E2}"/>
              </a:ext>
            </a:extLst>
          </p:cNvPr>
          <p:cNvSpPr/>
          <p:nvPr/>
        </p:nvSpPr>
        <p:spPr>
          <a:xfrm>
            <a:off x="4178754" y="2237716"/>
            <a:ext cx="3501814"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Essential</a:t>
            </a:r>
          </a:p>
        </p:txBody>
      </p:sp>
      <p:sp>
        <p:nvSpPr>
          <p:cNvPr id="67" name="Rechteck 66">
            <a:extLst>
              <a:ext uri="{FF2B5EF4-FFF2-40B4-BE49-F238E27FC236}">
                <a16:creationId xmlns:a16="http://schemas.microsoft.com/office/drawing/2014/main" id="{8982A51C-0EA9-494D-BA52-786D9AAE58E2}"/>
              </a:ext>
            </a:extLst>
          </p:cNvPr>
          <p:cNvSpPr/>
          <p:nvPr/>
        </p:nvSpPr>
        <p:spPr>
          <a:xfrm>
            <a:off x="7896200" y="2237716"/>
            <a:ext cx="3528392"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Professional</a:t>
            </a:r>
          </a:p>
        </p:txBody>
      </p:sp>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479768" y="502717"/>
            <a:ext cx="10751363"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kumimoji="0" lang="de-CH" sz="2800" b="1" i="0" u="none" strike="noStrike" kern="1200" cap="none" spc="0"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lexible Pakete und Preise</a:t>
            </a:r>
            <a:br>
              <a:rPr kumimoji="0" lang="de-DE" sz="2800" b="1" i="0" u="none" strike="noStrike" kern="1200" cap="none" spc="0"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DE" sz="1800" b="0" i="0" u="none" strike="noStrike" kern="1200" cap="none" spc="0"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Kostenlos loslegen und flexibel Ihrem Wachstum anpassen.</a:t>
            </a:r>
            <a:endParaRPr kumimoji="0" lang="de-DE" sz="1800" b="0" i="0" u="none" strike="noStrike" kern="1200" cap="none" spc="0" normalizeH="0" baseline="0" noProof="1">
              <a:ln>
                <a:noFill/>
              </a:ln>
              <a:solidFill>
                <a:srgbClr val="FFFFFF">
                  <a:lumMod val="50000"/>
                </a:srgbClr>
              </a:solidFill>
              <a:effectLst/>
              <a:uLnTx/>
              <a:uFillTx/>
              <a:latin typeface="Corona LT" panose="02000604020000090004" pitchFamily="2" charset="0"/>
              <a:ea typeface="MS PGothic" panose="020B0600070205080204" pitchFamily="34" charset="-128"/>
              <a:cs typeface="Segoe UI" panose="020B0502040204020203" pitchFamily="34" charset="0"/>
            </a:endParaRPr>
          </a:p>
        </p:txBody>
      </p:sp>
    </p:spTree>
    <p:extLst>
      <p:ext uri="{BB962C8B-B14F-4D97-AF65-F5344CB8AC3E}">
        <p14:creationId xmlns:p14="http://schemas.microsoft.com/office/powerpoint/2010/main" val="302261984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479376" y="476672"/>
            <a:ext cx="10751363" cy="7200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kumimoji="0" lang="de-CH" sz="2800" b="1" i="0" u="none" strike="noStrike" kern="1200" cap="none" spc="0" normalizeH="0" baseline="0" noProof="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Demokonto eröffnen und Konto aktivieren</a:t>
            </a:r>
            <a:br>
              <a:rPr kumimoji="0" lang="de-DE" sz="2800" b="1" i="0" u="none" strike="noStrike" kern="1200" cap="none" spc="0"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DE" sz="1800" b="0" i="0" u="none" strike="noStrike" kern="1200" cap="none" spc="0"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Kostenlos loslegen und flexibel Ihrem Wachstum anpassen.</a:t>
            </a:r>
            <a:endParaRPr kumimoji="0" lang="de-DE" sz="1800" b="0" i="0" u="none" strike="noStrike" kern="1200" cap="none" spc="0" normalizeH="0" baseline="0" noProof="1">
              <a:ln>
                <a:noFill/>
              </a:ln>
              <a:solidFill>
                <a:srgbClr val="FFFFFF">
                  <a:lumMod val="50000"/>
                </a:srgbClr>
              </a:solidFill>
              <a:effectLst/>
              <a:uLnTx/>
              <a:uFillTx/>
              <a:latin typeface="Corona LT" panose="02000604020000090004" pitchFamily="2" charset="0"/>
              <a:ea typeface="MS PGothic" panose="020B0600070205080204" pitchFamily="34" charset="-128"/>
              <a:cs typeface="Segoe UI" panose="020B0502040204020203" pitchFamily="34" charset="0"/>
            </a:endParaRPr>
          </a:p>
        </p:txBody>
      </p:sp>
      <p:grpSp>
        <p:nvGrpSpPr>
          <p:cNvPr id="3" name="Gruppieren 2"/>
          <p:cNvGrpSpPr/>
          <p:nvPr/>
        </p:nvGrpSpPr>
        <p:grpSpPr>
          <a:xfrm>
            <a:off x="461867" y="2605484"/>
            <a:ext cx="3361791" cy="3274915"/>
            <a:chOff x="7798531" y="1529250"/>
            <a:chExt cx="3945938" cy="3843966"/>
          </a:xfrm>
        </p:grpSpPr>
        <p:pic>
          <p:nvPicPr>
            <p:cNvPr id="24" name="Grafik 23">
              <a:hlinkClick r:id="rId7"/>
              <a:extLst>
                <a:ext uri="{FF2B5EF4-FFF2-40B4-BE49-F238E27FC236}">
                  <a16:creationId xmlns:a16="http://schemas.microsoft.com/office/drawing/2014/main" id="{EFA48FF0-8040-4818-9688-43F09912D895}"/>
                </a:ext>
              </a:extLst>
            </p:cNvPr>
            <p:cNvPicPr>
              <a:picLocks noChangeAspect="1"/>
            </p:cNvPicPr>
            <p:nvPr/>
          </p:nvPicPr>
          <p:blipFill>
            <a:blip r:embed="rId8"/>
            <a:stretch>
              <a:fillRect/>
            </a:stretch>
          </p:blipFill>
          <p:spPr>
            <a:xfrm>
              <a:off x="7798531" y="1529250"/>
              <a:ext cx="3945938" cy="3843966"/>
            </a:xfrm>
            <a:prstGeom prst="rect">
              <a:avLst/>
            </a:prstGeom>
          </p:spPr>
        </p:pic>
        <p:pic>
          <p:nvPicPr>
            <p:cNvPr id="6146" name="Picture 2"/>
            <p:cNvPicPr>
              <a:picLocks noChangeAspect="1" noChangeArrowheads="1"/>
            </p:cNvPicPr>
            <p:nvPr/>
          </p:nvPicPr>
          <p:blipFill>
            <a:blip r:embed="rId9">
              <a:extLst>
                <a:ext uri="{28A0092B-C50C-407E-A947-70E740481C1C}">
                  <a14:useLocalDpi xmlns:a14="http://schemas.microsoft.com/office/drawing/2010/main" val="0"/>
                </a:ext>
              </a:extLst>
            </a:blip>
            <a:srcRect/>
            <a:stretch/>
          </p:blipFill>
          <p:spPr bwMode="auto">
            <a:xfrm>
              <a:off x="7924531" y="1656249"/>
              <a:ext cx="3687738" cy="246564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grpSp>
        <p:nvGrpSpPr>
          <p:cNvPr id="42" name="Google Shape;14423;p145"/>
          <p:cNvGrpSpPr/>
          <p:nvPr/>
        </p:nvGrpSpPr>
        <p:grpSpPr>
          <a:xfrm>
            <a:off x="10704512" y="3062334"/>
            <a:ext cx="503746" cy="501590"/>
            <a:chOff x="7559858" y="5543081"/>
            <a:chExt cx="543772" cy="541445"/>
          </a:xfrm>
          <a:solidFill>
            <a:srgbClr val="28828B"/>
          </a:solidFill>
        </p:grpSpPr>
        <p:sp>
          <p:nvSpPr>
            <p:cNvPr id="43" name="Google Shape;14424;p145"/>
            <p:cNvSpPr/>
            <p:nvPr/>
          </p:nvSpPr>
          <p:spPr>
            <a:xfrm>
              <a:off x="7559858" y="5543081"/>
              <a:ext cx="543772" cy="541445"/>
            </a:xfrm>
            <a:custGeom>
              <a:avLst/>
              <a:gdLst/>
              <a:ahLst/>
              <a:cxnLst/>
              <a:rect l="l" t="t" r="r" b="b"/>
              <a:pathLst>
                <a:path w="543772" h="541445" extrusionOk="0">
                  <a:moveTo>
                    <a:pt x="529006" y="310177"/>
                  </a:moveTo>
                  <a:lnTo>
                    <a:pt x="506800" y="310177"/>
                  </a:lnTo>
                  <a:lnTo>
                    <a:pt x="506800" y="256016"/>
                  </a:lnTo>
                  <a:cubicBezTo>
                    <a:pt x="507787" y="227383"/>
                    <a:pt x="486306" y="202934"/>
                    <a:pt x="457784" y="200230"/>
                  </a:cubicBezTo>
                  <a:lnTo>
                    <a:pt x="52658" y="200230"/>
                  </a:lnTo>
                  <a:cubicBezTo>
                    <a:pt x="34336" y="195218"/>
                    <a:pt x="23546" y="176303"/>
                    <a:pt x="28558" y="157982"/>
                  </a:cubicBezTo>
                  <a:cubicBezTo>
                    <a:pt x="31766" y="146253"/>
                    <a:pt x="40929" y="137091"/>
                    <a:pt x="52658" y="133882"/>
                  </a:cubicBezTo>
                  <a:lnTo>
                    <a:pt x="101944" y="133882"/>
                  </a:lnTo>
                  <a:lnTo>
                    <a:pt x="86508" y="148235"/>
                  </a:lnTo>
                  <a:cubicBezTo>
                    <a:pt x="80975" y="153264"/>
                    <a:pt x="80565" y="161828"/>
                    <a:pt x="85595" y="167362"/>
                  </a:cubicBezTo>
                  <a:cubicBezTo>
                    <a:pt x="88185" y="170211"/>
                    <a:pt x="91865" y="171823"/>
                    <a:pt x="95716" y="171795"/>
                  </a:cubicBezTo>
                  <a:cubicBezTo>
                    <a:pt x="99149" y="171720"/>
                    <a:pt x="102432" y="170368"/>
                    <a:pt x="104923" y="168004"/>
                  </a:cubicBezTo>
                  <a:lnTo>
                    <a:pt x="146356" y="130091"/>
                  </a:lnTo>
                  <a:lnTo>
                    <a:pt x="146356" y="130091"/>
                  </a:lnTo>
                  <a:lnTo>
                    <a:pt x="253054" y="32059"/>
                  </a:lnTo>
                  <a:lnTo>
                    <a:pt x="370043" y="157442"/>
                  </a:lnTo>
                  <a:cubicBezTo>
                    <a:pt x="375203" y="162902"/>
                    <a:pt x="383811" y="163144"/>
                    <a:pt x="389270" y="157984"/>
                  </a:cubicBezTo>
                  <a:cubicBezTo>
                    <a:pt x="394729" y="152824"/>
                    <a:pt x="394971" y="144216"/>
                    <a:pt x="389811" y="138757"/>
                  </a:cubicBezTo>
                  <a:lnTo>
                    <a:pt x="385208" y="133882"/>
                  </a:lnTo>
                  <a:lnTo>
                    <a:pt x="412288" y="133882"/>
                  </a:lnTo>
                  <a:cubicBezTo>
                    <a:pt x="429528" y="137045"/>
                    <a:pt x="441367" y="153028"/>
                    <a:pt x="439369" y="170441"/>
                  </a:cubicBezTo>
                  <a:cubicBezTo>
                    <a:pt x="439369" y="177919"/>
                    <a:pt x="445431" y="183981"/>
                    <a:pt x="452909" y="183981"/>
                  </a:cubicBezTo>
                  <a:cubicBezTo>
                    <a:pt x="460388" y="183981"/>
                    <a:pt x="466450" y="177919"/>
                    <a:pt x="466450" y="170441"/>
                  </a:cubicBezTo>
                  <a:cubicBezTo>
                    <a:pt x="468501" y="138097"/>
                    <a:pt x="444544" y="109948"/>
                    <a:pt x="412288" y="106801"/>
                  </a:cubicBezTo>
                  <a:lnTo>
                    <a:pt x="358127" y="106801"/>
                  </a:lnTo>
                  <a:lnTo>
                    <a:pt x="261720" y="3895"/>
                  </a:lnTo>
                  <a:cubicBezTo>
                    <a:pt x="256363" y="-1298"/>
                    <a:pt x="247850" y="-1298"/>
                    <a:pt x="242493" y="3895"/>
                  </a:cubicBezTo>
                  <a:lnTo>
                    <a:pt x="130921" y="106531"/>
                  </a:lnTo>
                  <a:lnTo>
                    <a:pt x="52658" y="106531"/>
                  </a:lnTo>
                  <a:cubicBezTo>
                    <a:pt x="21546" y="108842"/>
                    <a:pt x="-1896" y="135788"/>
                    <a:pt x="121" y="166920"/>
                  </a:cubicBezTo>
                  <a:cubicBezTo>
                    <a:pt x="121" y="166920"/>
                    <a:pt x="121" y="168816"/>
                    <a:pt x="121" y="169899"/>
                  </a:cubicBezTo>
                  <a:lnTo>
                    <a:pt x="121" y="169899"/>
                  </a:lnTo>
                  <a:lnTo>
                    <a:pt x="121" y="485660"/>
                  </a:lnTo>
                  <a:cubicBezTo>
                    <a:pt x="-877" y="514197"/>
                    <a:pt x="20452" y="538608"/>
                    <a:pt x="48866" y="541446"/>
                  </a:cubicBezTo>
                  <a:lnTo>
                    <a:pt x="458867" y="541446"/>
                  </a:lnTo>
                  <a:cubicBezTo>
                    <a:pt x="487389" y="538741"/>
                    <a:pt x="508871" y="514292"/>
                    <a:pt x="507883" y="485660"/>
                  </a:cubicBezTo>
                  <a:lnTo>
                    <a:pt x="507883" y="420395"/>
                  </a:lnTo>
                  <a:lnTo>
                    <a:pt x="530089" y="420395"/>
                  </a:lnTo>
                  <a:cubicBezTo>
                    <a:pt x="537568" y="420395"/>
                    <a:pt x="543630" y="414333"/>
                    <a:pt x="543630" y="406855"/>
                  </a:cubicBezTo>
                  <a:lnTo>
                    <a:pt x="543630" y="325613"/>
                  </a:lnTo>
                  <a:cubicBezTo>
                    <a:pt x="544707" y="318213"/>
                    <a:pt x="539582" y="311340"/>
                    <a:pt x="532182" y="310263"/>
                  </a:cubicBezTo>
                  <a:cubicBezTo>
                    <a:pt x="531131" y="310110"/>
                    <a:pt x="530065" y="310081"/>
                    <a:pt x="529006" y="310177"/>
                  </a:cubicBezTo>
                  <a:close/>
                  <a:moveTo>
                    <a:pt x="479719" y="485660"/>
                  </a:moveTo>
                  <a:cubicBezTo>
                    <a:pt x="479719" y="501096"/>
                    <a:pt x="469699" y="514365"/>
                    <a:pt x="457784" y="514365"/>
                  </a:cubicBezTo>
                  <a:lnTo>
                    <a:pt x="48596" y="514365"/>
                  </a:lnTo>
                  <a:cubicBezTo>
                    <a:pt x="36951" y="514365"/>
                    <a:pt x="26931" y="501096"/>
                    <a:pt x="26931" y="485660"/>
                  </a:cubicBezTo>
                  <a:lnTo>
                    <a:pt x="26931" y="219457"/>
                  </a:lnTo>
                  <a:cubicBezTo>
                    <a:pt x="34366" y="224505"/>
                    <a:pt x="43130" y="227237"/>
                    <a:pt x="52115" y="227310"/>
                  </a:cubicBezTo>
                  <a:lnTo>
                    <a:pt x="458326" y="227311"/>
                  </a:lnTo>
                  <a:cubicBezTo>
                    <a:pt x="470241" y="227311"/>
                    <a:pt x="480261" y="240580"/>
                    <a:pt x="480261" y="256016"/>
                  </a:cubicBezTo>
                  <a:lnTo>
                    <a:pt x="480261" y="310177"/>
                  </a:lnTo>
                  <a:lnTo>
                    <a:pt x="422308" y="310177"/>
                  </a:lnTo>
                  <a:cubicBezTo>
                    <a:pt x="403164" y="310177"/>
                    <a:pt x="387645" y="325697"/>
                    <a:pt x="387645" y="344840"/>
                  </a:cubicBezTo>
                  <a:lnTo>
                    <a:pt x="387645" y="385190"/>
                  </a:lnTo>
                  <a:cubicBezTo>
                    <a:pt x="387645" y="404334"/>
                    <a:pt x="403165" y="419854"/>
                    <a:pt x="422308" y="419854"/>
                  </a:cubicBezTo>
                  <a:lnTo>
                    <a:pt x="480261" y="419854"/>
                  </a:lnTo>
                  <a:close/>
                  <a:moveTo>
                    <a:pt x="515466" y="393315"/>
                  </a:moveTo>
                  <a:lnTo>
                    <a:pt x="421767" y="393315"/>
                  </a:lnTo>
                  <a:cubicBezTo>
                    <a:pt x="417579" y="393315"/>
                    <a:pt x="414184" y="389920"/>
                    <a:pt x="414184" y="385732"/>
                  </a:cubicBezTo>
                  <a:lnTo>
                    <a:pt x="414184" y="344840"/>
                  </a:lnTo>
                  <a:cubicBezTo>
                    <a:pt x="414032" y="340805"/>
                    <a:pt x="417179" y="337410"/>
                    <a:pt x="421215" y="337258"/>
                  </a:cubicBezTo>
                  <a:cubicBezTo>
                    <a:pt x="421399" y="337251"/>
                    <a:pt x="421583" y="337251"/>
                    <a:pt x="421767" y="337258"/>
                  </a:cubicBezTo>
                  <a:lnTo>
                    <a:pt x="515466" y="337258"/>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44" name="Google Shape;14425;p145"/>
            <p:cNvSpPr/>
            <p:nvPr/>
          </p:nvSpPr>
          <p:spPr>
            <a:xfrm>
              <a:off x="7986499" y="5893335"/>
              <a:ext cx="27080" cy="27083"/>
            </a:xfrm>
            <a:custGeom>
              <a:avLst/>
              <a:gdLst/>
              <a:ahLst/>
              <a:cxnLst/>
              <a:rect l="l" t="t" r="r" b="b"/>
              <a:pathLst>
                <a:path w="27080" h="27083" extrusionOk="0">
                  <a:moveTo>
                    <a:pt x="13269" y="3"/>
                  </a:moveTo>
                  <a:cubicBezTo>
                    <a:pt x="5897" y="150"/>
                    <a:pt x="-2" y="6170"/>
                    <a:pt x="0" y="13543"/>
                  </a:cubicBezTo>
                  <a:cubicBezTo>
                    <a:pt x="0" y="21021"/>
                    <a:pt x="6062" y="27084"/>
                    <a:pt x="13540" y="27084"/>
                  </a:cubicBezTo>
                  <a:cubicBezTo>
                    <a:pt x="21019" y="27084"/>
                    <a:pt x="27081" y="21021"/>
                    <a:pt x="27081" y="13543"/>
                  </a:cubicBezTo>
                  <a:cubicBezTo>
                    <a:pt x="27082" y="6065"/>
                    <a:pt x="21021" y="2"/>
                    <a:pt x="13543" y="0"/>
                  </a:cubicBezTo>
                  <a:cubicBezTo>
                    <a:pt x="13452" y="0"/>
                    <a:pt x="13360" y="1"/>
                    <a:pt x="13269" y="3"/>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45" name="Google Shape;89;p13"/>
          <p:cNvSpPr/>
          <p:nvPr/>
        </p:nvSpPr>
        <p:spPr>
          <a:xfrm>
            <a:off x="10697886" y="3939667"/>
            <a:ext cx="571355" cy="571355"/>
          </a:xfrm>
          <a:custGeom>
            <a:avLst/>
            <a:gdLst/>
            <a:ahLst/>
            <a:cxnLst/>
            <a:rect l="l" t="t" r="r" b="b"/>
            <a:pathLst>
              <a:path w="312180" h="312180" extrusionOk="0">
                <a:moveTo>
                  <a:pt x="314297" y="157148"/>
                </a:moveTo>
                <a:cubicBezTo>
                  <a:pt x="314297" y="243924"/>
                  <a:pt x="243924" y="314297"/>
                  <a:pt x="157148" y="314297"/>
                </a:cubicBezTo>
                <a:cubicBezTo>
                  <a:pt x="70373" y="314297"/>
                  <a:pt x="0" y="243924"/>
                  <a:pt x="0" y="157148"/>
                </a:cubicBezTo>
                <a:cubicBezTo>
                  <a:pt x="0" y="70373"/>
                  <a:pt x="70373" y="0"/>
                  <a:pt x="157148" y="0"/>
                </a:cubicBezTo>
                <a:cubicBezTo>
                  <a:pt x="189425" y="0"/>
                  <a:pt x="220643" y="9524"/>
                  <a:pt x="247099" y="28043"/>
                </a:cubicBezTo>
                <a:cubicBezTo>
                  <a:pt x="250273" y="30160"/>
                  <a:pt x="250803" y="33864"/>
                  <a:pt x="248686" y="37038"/>
                </a:cubicBezTo>
                <a:cubicBezTo>
                  <a:pt x="246570" y="40213"/>
                  <a:pt x="242866" y="40742"/>
                  <a:pt x="239691" y="38626"/>
                </a:cubicBezTo>
                <a:cubicBezTo>
                  <a:pt x="215352" y="21694"/>
                  <a:pt x="186779" y="12699"/>
                  <a:pt x="157148" y="12699"/>
                </a:cubicBezTo>
                <a:cubicBezTo>
                  <a:pt x="77781" y="12699"/>
                  <a:pt x="12699" y="77251"/>
                  <a:pt x="12699" y="157148"/>
                </a:cubicBezTo>
                <a:cubicBezTo>
                  <a:pt x="12699" y="236516"/>
                  <a:pt x="77252" y="301598"/>
                  <a:pt x="157148" y="301598"/>
                </a:cubicBezTo>
                <a:cubicBezTo>
                  <a:pt x="236516" y="301598"/>
                  <a:pt x="301598" y="237045"/>
                  <a:pt x="301598" y="157148"/>
                </a:cubicBezTo>
                <a:cubicBezTo>
                  <a:pt x="301598" y="127518"/>
                  <a:pt x="292603" y="98945"/>
                  <a:pt x="275671" y="74606"/>
                </a:cubicBezTo>
                <a:cubicBezTo>
                  <a:pt x="273555" y="71431"/>
                  <a:pt x="274084" y="67727"/>
                  <a:pt x="277259" y="65611"/>
                </a:cubicBezTo>
                <a:cubicBezTo>
                  <a:pt x="280433" y="63494"/>
                  <a:pt x="284137" y="64552"/>
                  <a:pt x="286254" y="67198"/>
                </a:cubicBezTo>
                <a:cubicBezTo>
                  <a:pt x="304773" y="94183"/>
                  <a:pt x="314297" y="124872"/>
                  <a:pt x="314297" y="157148"/>
                </a:cubicBezTo>
                <a:close/>
                <a:moveTo>
                  <a:pt x="157148" y="118523"/>
                </a:moveTo>
                <a:cubicBezTo>
                  <a:pt x="161381" y="118523"/>
                  <a:pt x="165614" y="119052"/>
                  <a:pt x="169847" y="121168"/>
                </a:cubicBezTo>
                <a:cubicBezTo>
                  <a:pt x="173022" y="122227"/>
                  <a:pt x="176726" y="120639"/>
                  <a:pt x="178313" y="117464"/>
                </a:cubicBezTo>
                <a:cubicBezTo>
                  <a:pt x="179371" y="114290"/>
                  <a:pt x="177784" y="110586"/>
                  <a:pt x="174609" y="108999"/>
                </a:cubicBezTo>
                <a:cubicBezTo>
                  <a:pt x="138629" y="96300"/>
                  <a:pt x="105824" y="123285"/>
                  <a:pt x="105824" y="157677"/>
                </a:cubicBezTo>
                <a:cubicBezTo>
                  <a:pt x="105824" y="186250"/>
                  <a:pt x="129105" y="209531"/>
                  <a:pt x="157677" y="209531"/>
                </a:cubicBezTo>
                <a:cubicBezTo>
                  <a:pt x="186250" y="209531"/>
                  <a:pt x="209531" y="186250"/>
                  <a:pt x="209531" y="157677"/>
                </a:cubicBezTo>
                <a:cubicBezTo>
                  <a:pt x="209531" y="151857"/>
                  <a:pt x="208473" y="146566"/>
                  <a:pt x="206356" y="140217"/>
                </a:cubicBezTo>
                <a:cubicBezTo>
                  <a:pt x="205298" y="137042"/>
                  <a:pt x="201595" y="134925"/>
                  <a:pt x="197891" y="136513"/>
                </a:cubicBezTo>
                <a:cubicBezTo>
                  <a:pt x="194716" y="137571"/>
                  <a:pt x="192599" y="141275"/>
                  <a:pt x="194187" y="144979"/>
                </a:cubicBezTo>
                <a:cubicBezTo>
                  <a:pt x="195774" y="149741"/>
                  <a:pt x="196832" y="153974"/>
                  <a:pt x="196832" y="157677"/>
                </a:cubicBezTo>
                <a:cubicBezTo>
                  <a:pt x="196832" y="178842"/>
                  <a:pt x="179371" y="196303"/>
                  <a:pt x="158207" y="196303"/>
                </a:cubicBezTo>
                <a:cubicBezTo>
                  <a:pt x="137042" y="196303"/>
                  <a:pt x="119581" y="178842"/>
                  <a:pt x="119581" y="157677"/>
                </a:cubicBezTo>
                <a:cubicBezTo>
                  <a:pt x="118523" y="135983"/>
                  <a:pt x="135984" y="118523"/>
                  <a:pt x="157148" y="118523"/>
                </a:cubicBezTo>
                <a:close/>
                <a:moveTo>
                  <a:pt x="222230" y="74077"/>
                </a:moveTo>
                <a:cubicBezTo>
                  <a:pt x="224347" y="70902"/>
                  <a:pt x="223288" y="67198"/>
                  <a:pt x="220643" y="65082"/>
                </a:cubicBezTo>
                <a:cubicBezTo>
                  <a:pt x="202124" y="52383"/>
                  <a:pt x="179900" y="45504"/>
                  <a:pt x="157148" y="45504"/>
                </a:cubicBezTo>
                <a:cubicBezTo>
                  <a:pt x="95241" y="45504"/>
                  <a:pt x="44975" y="95771"/>
                  <a:pt x="44975" y="157677"/>
                </a:cubicBezTo>
                <a:cubicBezTo>
                  <a:pt x="44975" y="219584"/>
                  <a:pt x="95241" y="269851"/>
                  <a:pt x="157148" y="269851"/>
                </a:cubicBezTo>
                <a:cubicBezTo>
                  <a:pt x="219055" y="269851"/>
                  <a:pt x="269322" y="219584"/>
                  <a:pt x="269322" y="157677"/>
                </a:cubicBezTo>
                <a:cubicBezTo>
                  <a:pt x="269322" y="134925"/>
                  <a:pt x="262443" y="113231"/>
                  <a:pt x="249744" y="94183"/>
                </a:cubicBezTo>
                <a:cubicBezTo>
                  <a:pt x="247628" y="91008"/>
                  <a:pt x="243924" y="90479"/>
                  <a:pt x="240749" y="92596"/>
                </a:cubicBezTo>
                <a:cubicBezTo>
                  <a:pt x="237575" y="94712"/>
                  <a:pt x="237045" y="98416"/>
                  <a:pt x="239162" y="101591"/>
                </a:cubicBezTo>
                <a:cubicBezTo>
                  <a:pt x="250273" y="117993"/>
                  <a:pt x="256623" y="137571"/>
                  <a:pt x="256623" y="157677"/>
                </a:cubicBezTo>
                <a:cubicBezTo>
                  <a:pt x="256623" y="212177"/>
                  <a:pt x="212177" y="256623"/>
                  <a:pt x="157677" y="256623"/>
                </a:cubicBezTo>
                <a:cubicBezTo>
                  <a:pt x="103178" y="256623"/>
                  <a:pt x="58732" y="212177"/>
                  <a:pt x="58732" y="157677"/>
                </a:cubicBezTo>
                <a:cubicBezTo>
                  <a:pt x="58732" y="103178"/>
                  <a:pt x="103178" y="58732"/>
                  <a:pt x="157677" y="58732"/>
                </a:cubicBezTo>
                <a:cubicBezTo>
                  <a:pt x="177784" y="58732"/>
                  <a:pt x="196832" y="64552"/>
                  <a:pt x="213764" y="76193"/>
                </a:cubicBezTo>
                <a:cubicBezTo>
                  <a:pt x="216410" y="77780"/>
                  <a:pt x="220114" y="76722"/>
                  <a:pt x="222230" y="74077"/>
                </a:cubicBezTo>
                <a:close/>
                <a:moveTo>
                  <a:pt x="152916" y="152915"/>
                </a:moveTo>
                <a:lnTo>
                  <a:pt x="256623" y="49208"/>
                </a:lnTo>
                <a:lnTo>
                  <a:pt x="256623" y="21694"/>
                </a:lnTo>
                <a:cubicBezTo>
                  <a:pt x="256623" y="21694"/>
                  <a:pt x="256623" y="21694"/>
                  <a:pt x="256623" y="21694"/>
                </a:cubicBezTo>
                <a:cubicBezTo>
                  <a:pt x="256623" y="20636"/>
                  <a:pt x="256623" y="20106"/>
                  <a:pt x="257152" y="19048"/>
                </a:cubicBezTo>
                <a:cubicBezTo>
                  <a:pt x="257681" y="18519"/>
                  <a:pt x="257681" y="17461"/>
                  <a:pt x="258739" y="16932"/>
                </a:cubicBezTo>
                <a:lnTo>
                  <a:pt x="258739" y="16932"/>
                </a:lnTo>
                <a:lnTo>
                  <a:pt x="273555" y="2116"/>
                </a:lnTo>
                <a:cubicBezTo>
                  <a:pt x="275142" y="529"/>
                  <a:pt x="277787" y="0"/>
                  <a:pt x="279904" y="529"/>
                </a:cubicBezTo>
                <a:cubicBezTo>
                  <a:pt x="282020" y="1058"/>
                  <a:pt x="284137" y="2646"/>
                  <a:pt x="284666" y="5291"/>
                </a:cubicBezTo>
                <a:lnTo>
                  <a:pt x="289957" y="24868"/>
                </a:lnTo>
                <a:lnTo>
                  <a:pt x="310593" y="30689"/>
                </a:lnTo>
                <a:cubicBezTo>
                  <a:pt x="312710" y="31218"/>
                  <a:pt x="314297" y="32805"/>
                  <a:pt x="314826" y="35451"/>
                </a:cubicBezTo>
                <a:cubicBezTo>
                  <a:pt x="315355" y="37567"/>
                  <a:pt x="314826" y="40213"/>
                  <a:pt x="313239" y="41800"/>
                </a:cubicBezTo>
                <a:lnTo>
                  <a:pt x="298423" y="56616"/>
                </a:lnTo>
                <a:lnTo>
                  <a:pt x="298423" y="56616"/>
                </a:lnTo>
                <a:cubicBezTo>
                  <a:pt x="297894" y="57145"/>
                  <a:pt x="296836" y="57674"/>
                  <a:pt x="296307" y="58203"/>
                </a:cubicBezTo>
                <a:cubicBezTo>
                  <a:pt x="295778" y="58732"/>
                  <a:pt x="294719" y="58732"/>
                  <a:pt x="293661" y="58732"/>
                </a:cubicBezTo>
                <a:lnTo>
                  <a:pt x="266147" y="58732"/>
                </a:lnTo>
                <a:lnTo>
                  <a:pt x="237045" y="87834"/>
                </a:lnTo>
                <a:lnTo>
                  <a:pt x="162440" y="162439"/>
                </a:lnTo>
                <a:cubicBezTo>
                  <a:pt x="161381" y="163498"/>
                  <a:pt x="159265" y="164556"/>
                  <a:pt x="157677" y="164556"/>
                </a:cubicBezTo>
                <a:cubicBezTo>
                  <a:pt x="156090" y="164556"/>
                  <a:pt x="154503" y="164027"/>
                  <a:pt x="152916" y="162439"/>
                </a:cubicBezTo>
                <a:cubicBezTo>
                  <a:pt x="150270" y="159265"/>
                  <a:pt x="150270" y="155561"/>
                  <a:pt x="152916" y="152915"/>
                </a:cubicBezTo>
                <a:close/>
                <a:moveTo>
                  <a:pt x="269322" y="24340"/>
                </a:moveTo>
                <a:lnTo>
                  <a:pt x="269322" y="45504"/>
                </a:lnTo>
                <a:lnTo>
                  <a:pt x="290486" y="45504"/>
                </a:lnTo>
                <a:lnTo>
                  <a:pt x="295778" y="40213"/>
                </a:lnTo>
                <a:lnTo>
                  <a:pt x="282550" y="36509"/>
                </a:lnTo>
                <a:cubicBezTo>
                  <a:pt x="280433" y="35980"/>
                  <a:pt x="278846" y="34393"/>
                  <a:pt x="278317" y="31747"/>
                </a:cubicBezTo>
                <a:lnTo>
                  <a:pt x="275142" y="19048"/>
                </a:lnTo>
                <a:lnTo>
                  <a:pt x="269322" y="24340"/>
                </a:lnTo>
                <a:close/>
              </a:path>
            </a:pathLst>
          </a:custGeom>
          <a:solidFill>
            <a:srgbClr val="28828B"/>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2" name="Textfeld 1">
            <a:extLst>
              <a:ext uri="{FF2B5EF4-FFF2-40B4-BE49-F238E27FC236}">
                <a16:creationId xmlns:a16="http://schemas.microsoft.com/office/drawing/2014/main" id="{5562BF86-B62E-4E9C-AC10-AF637E66B129}"/>
              </a:ext>
            </a:extLst>
          </p:cNvPr>
          <p:cNvSpPr txBox="1"/>
          <p:nvPr/>
        </p:nvSpPr>
        <p:spPr bwMode="auto">
          <a:xfrm>
            <a:off x="8376896" y="3078104"/>
            <a:ext cx="2824632" cy="5777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800" b="0" i="0" u="none" strike="noStrike" kern="1200" cap="none" spc="0" normalizeH="0" baseline="0" noProof="0" dirty="0">
                <a:ln>
                  <a:noFill/>
                </a:ln>
                <a:solidFill>
                  <a:srgbClr val="868689"/>
                </a:solidFill>
                <a:effectLst/>
                <a:uLnTx/>
                <a:uFillTx/>
                <a:latin typeface="HelveticaNeueLT Com 55 Roman"/>
                <a:ea typeface="+mn-ea"/>
                <a:cs typeface="+mn-cs"/>
              </a:rPr>
              <a:t>Starter-Angebot</a:t>
            </a:r>
            <a:br>
              <a:rPr kumimoji="0" lang="de-CH" sz="1800" b="0" i="0" u="none" strike="noStrike" kern="1200" cap="none" spc="0" normalizeH="0" baseline="0" noProof="0" dirty="0">
                <a:ln>
                  <a:noFill/>
                </a:ln>
                <a:solidFill>
                  <a:srgbClr val="868689"/>
                </a:solidFill>
                <a:effectLst/>
                <a:uLnTx/>
                <a:uFillTx/>
                <a:latin typeface="HelveticaNeueLT Com 55 Roman"/>
                <a:ea typeface="+mn-ea"/>
                <a:cs typeface="+mn-cs"/>
              </a:rPr>
            </a:br>
            <a:r>
              <a:rPr lang="de-CH" dirty="0">
                <a:solidFill>
                  <a:srgbClr val="868689"/>
                </a:solidFill>
                <a:latin typeface="HelveticaNeueLT Com 55 Roman"/>
              </a:rPr>
              <a:t>kostenlos</a:t>
            </a:r>
            <a:endParaRPr kumimoji="0" lang="de-CH" sz="1800" b="0" i="0" u="none" strike="noStrike" kern="1200" cap="none" spc="0" normalizeH="0" baseline="0" noProof="0" dirty="0">
              <a:ln>
                <a:noFill/>
              </a:ln>
              <a:solidFill>
                <a:srgbClr val="868689"/>
              </a:solidFill>
              <a:effectLst/>
              <a:uLnTx/>
              <a:uFillTx/>
              <a:latin typeface="HelveticaNeueLT Com 55 Roman"/>
              <a:ea typeface="+mn-ea"/>
              <a:cs typeface="+mn-cs"/>
            </a:endParaRPr>
          </a:p>
        </p:txBody>
      </p:sp>
      <p:sp>
        <p:nvSpPr>
          <p:cNvPr id="29" name="Textfeld 28">
            <a:extLst>
              <a:ext uri="{FF2B5EF4-FFF2-40B4-BE49-F238E27FC236}">
                <a16:creationId xmlns:a16="http://schemas.microsoft.com/office/drawing/2014/main" id="{A325D698-7CAA-4780-A290-9B45559CEFE4}"/>
              </a:ext>
            </a:extLst>
          </p:cNvPr>
          <p:cNvSpPr txBox="1"/>
          <p:nvPr/>
        </p:nvSpPr>
        <p:spPr bwMode="auto">
          <a:xfrm>
            <a:off x="8376896" y="3892809"/>
            <a:ext cx="2824632" cy="2907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800" b="0" i="0" u="none" strike="noStrike" kern="1200" cap="none" spc="0" normalizeH="0" baseline="0" noProof="0">
                <a:ln>
                  <a:noFill/>
                </a:ln>
                <a:solidFill>
                  <a:srgbClr val="868689"/>
                </a:solidFill>
                <a:effectLst/>
                <a:uLnTx/>
                <a:uFillTx/>
                <a:latin typeface="HelveticaNeueLT Com 55 Roman"/>
                <a:ea typeface="+mn-ea"/>
                <a:cs typeface="+mn-cs"/>
              </a:rPr>
              <a:t>Direkte Aktivierung </a:t>
            </a:r>
            <a:br>
              <a:rPr kumimoji="0" lang="de-CH" sz="1800" b="0" i="0" u="none" strike="noStrike" kern="1200" cap="none" spc="0" normalizeH="0" baseline="0" noProof="0">
                <a:ln>
                  <a:noFill/>
                </a:ln>
                <a:solidFill>
                  <a:srgbClr val="868689"/>
                </a:solidFill>
                <a:effectLst/>
                <a:uLnTx/>
                <a:uFillTx/>
                <a:latin typeface="HelveticaNeueLT Com 55 Roman"/>
                <a:ea typeface="+mn-ea"/>
                <a:cs typeface="+mn-cs"/>
              </a:rPr>
            </a:br>
            <a:r>
              <a:rPr kumimoji="0" lang="de-CH" sz="1800" b="0" i="0" u="none" strike="noStrike" kern="1200" cap="none" spc="0" normalizeH="0" baseline="0" noProof="0">
                <a:ln>
                  <a:noFill/>
                </a:ln>
                <a:solidFill>
                  <a:srgbClr val="868689"/>
                </a:solidFill>
                <a:effectLst/>
                <a:uLnTx/>
                <a:uFillTx/>
                <a:latin typeface="HelveticaNeueLT Com 55 Roman"/>
                <a:ea typeface="+mn-ea"/>
                <a:cs typeface="+mn-cs"/>
              </a:rPr>
              <a:t>möglich um sofort </a:t>
            </a:r>
            <a:br>
              <a:rPr kumimoji="0" lang="de-CH" sz="1800" b="0" i="0" u="none" strike="noStrike" kern="1200" cap="none" spc="0" normalizeH="0" baseline="0" noProof="0">
                <a:ln>
                  <a:noFill/>
                </a:ln>
                <a:solidFill>
                  <a:srgbClr val="868689"/>
                </a:solidFill>
                <a:effectLst/>
                <a:uLnTx/>
                <a:uFillTx/>
                <a:latin typeface="HelveticaNeueLT Com 55 Roman"/>
                <a:ea typeface="+mn-ea"/>
                <a:cs typeface="+mn-cs"/>
              </a:rPr>
            </a:br>
            <a:r>
              <a:rPr kumimoji="0" lang="de-CH" sz="1800" b="0" i="0" u="none" strike="noStrike" kern="1200" cap="none" spc="0" normalizeH="0" baseline="0" noProof="0">
                <a:ln>
                  <a:noFill/>
                </a:ln>
                <a:solidFill>
                  <a:srgbClr val="868689"/>
                </a:solidFill>
                <a:effectLst/>
                <a:uLnTx/>
                <a:uFillTx/>
                <a:latin typeface="HelveticaNeueLT Com 55 Roman"/>
                <a:ea typeface="+mn-ea"/>
                <a:cs typeface="+mn-cs"/>
              </a:rPr>
              <a:t>zu starten</a:t>
            </a:r>
          </a:p>
        </p:txBody>
      </p:sp>
      <p:pic>
        <p:nvPicPr>
          <p:cNvPr id="8" name="Grafik 7">
            <a:extLst>
              <a:ext uri="{FF2B5EF4-FFF2-40B4-BE49-F238E27FC236}">
                <a16:creationId xmlns:a16="http://schemas.microsoft.com/office/drawing/2014/main" id="{2923ED02-6B8D-46C3-966A-CF2A6A04590C}"/>
              </a:ext>
            </a:extLst>
          </p:cNvPr>
          <p:cNvPicPr>
            <a:picLocks noChangeAspect="1"/>
          </p:cNvPicPr>
          <p:nvPr/>
        </p:nvPicPr>
        <p:blipFill rotWithShape="1">
          <a:blip r:embed="rId10"/>
          <a:srcRect l="26304" t="6713" r="19544" b="14008"/>
          <a:stretch/>
        </p:blipFill>
        <p:spPr>
          <a:xfrm>
            <a:off x="4306594" y="2535461"/>
            <a:ext cx="3877890" cy="3193419"/>
          </a:xfrm>
          <a:prstGeom prst="rect">
            <a:avLst/>
          </a:prstGeom>
        </p:spPr>
      </p:pic>
      <p:sp>
        <p:nvSpPr>
          <p:cNvPr id="9" name="Ellipse 8">
            <a:extLst>
              <a:ext uri="{FF2B5EF4-FFF2-40B4-BE49-F238E27FC236}">
                <a16:creationId xmlns:a16="http://schemas.microsoft.com/office/drawing/2014/main" id="{B6D9B2A7-382E-499C-B916-FD010D0C55E3}"/>
              </a:ext>
            </a:extLst>
          </p:cNvPr>
          <p:cNvSpPr/>
          <p:nvPr/>
        </p:nvSpPr>
        <p:spPr>
          <a:xfrm>
            <a:off x="369274" y="2399430"/>
            <a:ext cx="476212" cy="47621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600" b="1" i="0" u="none" strike="noStrike" kern="1200" cap="none" spc="0" normalizeH="0" baseline="0" noProof="0">
                <a:ln>
                  <a:noFill/>
                </a:ln>
                <a:solidFill>
                  <a:srgbClr val="FFFFFF"/>
                </a:solidFill>
                <a:effectLst/>
                <a:uLnTx/>
                <a:uFillTx/>
                <a:latin typeface="HelveticaNeueLT Com 55 Roman"/>
                <a:ea typeface="+mn-ea"/>
                <a:cs typeface="+mn-cs"/>
              </a:rPr>
              <a:t>1</a:t>
            </a:r>
          </a:p>
        </p:txBody>
      </p:sp>
      <p:sp>
        <p:nvSpPr>
          <p:cNvPr id="52" name="Ellipse 51">
            <a:extLst>
              <a:ext uri="{FF2B5EF4-FFF2-40B4-BE49-F238E27FC236}">
                <a16:creationId xmlns:a16="http://schemas.microsoft.com/office/drawing/2014/main" id="{CD503D23-5432-4506-BA9A-2DF825E9907E}"/>
              </a:ext>
            </a:extLst>
          </p:cNvPr>
          <p:cNvSpPr/>
          <p:nvPr/>
        </p:nvSpPr>
        <p:spPr>
          <a:xfrm>
            <a:off x="4168867" y="2430172"/>
            <a:ext cx="476212" cy="476212"/>
          </a:xfrm>
          <a:prstGeom prst="ellipse">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600" b="1" i="0" u="none" strike="noStrike" kern="1200" cap="none" spc="0" normalizeH="0" baseline="0" noProof="0">
                <a:ln>
                  <a:noFill/>
                </a:ln>
                <a:solidFill>
                  <a:srgbClr val="FFFFFF"/>
                </a:solidFill>
                <a:effectLst/>
                <a:uLnTx/>
                <a:uFillTx/>
                <a:latin typeface="HelveticaNeueLT Com 55 Roman"/>
                <a:ea typeface="+mn-ea"/>
                <a:cs typeface="+mn-cs"/>
              </a:rPr>
              <a:t>2</a:t>
            </a:r>
          </a:p>
        </p:txBody>
      </p:sp>
      <p:sp>
        <p:nvSpPr>
          <p:cNvPr id="10" name="Rechteck 9">
            <a:extLst>
              <a:ext uri="{FF2B5EF4-FFF2-40B4-BE49-F238E27FC236}">
                <a16:creationId xmlns:a16="http://schemas.microsoft.com/office/drawing/2014/main" id="{FFF49FC7-C896-4FBD-841C-28A36D65F85A}"/>
              </a:ext>
            </a:extLst>
          </p:cNvPr>
          <p:cNvSpPr/>
          <p:nvPr/>
        </p:nvSpPr>
        <p:spPr>
          <a:xfrm>
            <a:off x="7055296" y="2875642"/>
            <a:ext cx="607371" cy="226834"/>
          </a:xfrm>
          <a:prstGeom prst="rect">
            <a:avLst/>
          </a:prstGeom>
          <a:noFill/>
          <a:ln>
            <a:solidFill>
              <a:srgbClr val="FF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pic>
        <p:nvPicPr>
          <p:cNvPr id="12" name="Grafik 11">
            <a:extLst>
              <a:ext uri="{FF2B5EF4-FFF2-40B4-BE49-F238E27FC236}">
                <a16:creationId xmlns:a16="http://schemas.microsoft.com/office/drawing/2014/main" id="{EB494E31-52C5-47B5-A3D8-BDDDE02708DB}"/>
              </a:ext>
            </a:extLst>
          </p:cNvPr>
          <p:cNvPicPr>
            <a:picLocks noChangeAspect="1"/>
          </p:cNvPicPr>
          <p:nvPr/>
        </p:nvPicPr>
        <p:blipFill>
          <a:blip r:embed="rId11"/>
          <a:stretch>
            <a:fillRect/>
          </a:stretch>
        </p:blipFill>
        <p:spPr>
          <a:xfrm>
            <a:off x="7986136" y="2025534"/>
            <a:ext cx="1419423" cy="847843"/>
          </a:xfrm>
          <a:prstGeom prst="rect">
            <a:avLst/>
          </a:prstGeom>
        </p:spPr>
      </p:pic>
      <p:sp>
        <p:nvSpPr>
          <p:cNvPr id="53" name="Rechteck 52">
            <a:extLst>
              <a:ext uri="{FF2B5EF4-FFF2-40B4-BE49-F238E27FC236}">
                <a16:creationId xmlns:a16="http://schemas.microsoft.com/office/drawing/2014/main" id="{ED28BAAF-1542-4DB2-BF1D-FB31A850C0B5}"/>
              </a:ext>
            </a:extLst>
          </p:cNvPr>
          <p:cNvSpPr/>
          <p:nvPr/>
        </p:nvSpPr>
        <p:spPr>
          <a:xfrm>
            <a:off x="8005199" y="2235184"/>
            <a:ext cx="1393734" cy="476212"/>
          </a:xfrm>
          <a:prstGeom prst="rect">
            <a:avLst/>
          </a:prstGeom>
          <a:noFill/>
          <a:ln>
            <a:solidFill>
              <a:srgbClr val="C00000"/>
            </a:solid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13" name="Pfeil: nach rechts 12">
            <a:extLst>
              <a:ext uri="{FF2B5EF4-FFF2-40B4-BE49-F238E27FC236}">
                <a16:creationId xmlns:a16="http://schemas.microsoft.com/office/drawing/2014/main" id="{D5716906-70B3-4895-A4D5-0215F2CD3B4B}"/>
              </a:ext>
            </a:extLst>
          </p:cNvPr>
          <p:cNvSpPr/>
          <p:nvPr/>
        </p:nvSpPr>
        <p:spPr>
          <a:xfrm rot="19800000">
            <a:off x="7568567" y="2608968"/>
            <a:ext cx="620228" cy="289302"/>
          </a:xfrm>
          <a:prstGeom prst="rightArrow">
            <a:avLst/>
          </a:prstGeom>
          <a:solidFill>
            <a:schemeClr val="accent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54" name="Textfeld 53">
            <a:extLst>
              <a:ext uri="{FF2B5EF4-FFF2-40B4-BE49-F238E27FC236}">
                <a16:creationId xmlns:a16="http://schemas.microsoft.com/office/drawing/2014/main" id="{E9F70964-B90B-48C3-BCDC-F310617D0568}"/>
              </a:ext>
            </a:extLst>
          </p:cNvPr>
          <p:cNvSpPr txBox="1"/>
          <p:nvPr/>
        </p:nvSpPr>
        <p:spPr>
          <a:xfrm>
            <a:off x="4431766" y="1809329"/>
            <a:ext cx="362754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400"/>
              </a:spcBef>
              <a:spcAft>
                <a:spcPts val="0"/>
              </a:spcAft>
              <a:buClrTx/>
              <a:buSzPct val="95000"/>
              <a:buFontTx/>
              <a:buNone/>
              <a:tabLst/>
              <a:defRPr/>
            </a:pPr>
            <a:r>
              <a:rPr kumimoji="0" lang="de-CH" sz="1800" b="1" i="0" u="none" strike="noStrike" kern="1200" cap="none" spc="0" normalizeH="0" baseline="0" noProof="0" dirty="0">
                <a:ln>
                  <a:noFill/>
                </a:ln>
                <a:solidFill>
                  <a:srgbClr val="28828B"/>
                </a:solidFill>
                <a:effectLst/>
                <a:uLnTx/>
                <a:uFillTx/>
                <a:latin typeface="HelveticaNeueLT Com 55 Roman"/>
                <a:ea typeface="+mn-ea"/>
                <a:cs typeface="Arial" pitchFamily="34" charset="0"/>
              </a:rPr>
              <a:t>Registrieren</a:t>
            </a:r>
            <a:r>
              <a:rPr kumimoji="0" lang="de-CH" sz="1800" b="0" i="0" u="none" strike="noStrike" kern="1200" cap="none" spc="0" normalizeH="0" baseline="0" noProof="0" dirty="0">
                <a:ln>
                  <a:noFill/>
                </a:ln>
                <a:solidFill>
                  <a:srgbClr val="868689"/>
                </a:solidFill>
                <a:effectLst/>
                <a:uLnTx/>
                <a:uFillTx/>
                <a:latin typeface="HelveticaNeueLT Com 55 Roman"/>
                <a:ea typeface="+mn-ea"/>
                <a:cs typeface="Arial" pitchFamily="34" charset="0"/>
              </a:rPr>
              <a:t> Sie Ihre Firma </a:t>
            </a:r>
            <a:r>
              <a:rPr kumimoji="0" lang="de-CH" sz="1800" b="1" i="0" u="none" strike="noStrike" kern="1200" cap="none" spc="0" normalizeH="0" baseline="0" noProof="0" dirty="0">
                <a:ln>
                  <a:noFill/>
                </a:ln>
                <a:solidFill>
                  <a:srgbClr val="28828B"/>
                </a:solidFill>
                <a:effectLst/>
                <a:uLnTx/>
                <a:uFillTx/>
                <a:latin typeface="HelveticaNeueLT Com 55 Roman"/>
                <a:ea typeface="+mn-ea"/>
                <a:cs typeface="Arial" pitchFamily="34" charset="0"/>
              </a:rPr>
              <a:t>in</a:t>
            </a:r>
            <a:r>
              <a:rPr kumimoji="0" lang="de-CH" sz="1800" b="0" i="0" u="none" strike="noStrike" kern="1200" cap="none" spc="0" normalizeH="0" baseline="0" noProof="0" dirty="0">
                <a:ln>
                  <a:noFill/>
                </a:ln>
                <a:solidFill>
                  <a:srgbClr val="868689"/>
                </a:solidFill>
                <a:effectLst/>
                <a:uLnTx/>
                <a:uFillTx/>
                <a:latin typeface="HelveticaNeueLT Com 55 Roman"/>
                <a:ea typeface="+mn-ea"/>
                <a:cs typeface="Arial" pitchFamily="34" charset="0"/>
              </a:rPr>
              <a:t> </a:t>
            </a:r>
            <a:r>
              <a:rPr kumimoji="0" lang="de-CH" sz="1800" b="1" i="0" u="none" strike="noStrike" kern="1200" cap="none" spc="0" normalizeH="0" baseline="0" noProof="0" dirty="0">
                <a:ln>
                  <a:noFill/>
                </a:ln>
                <a:solidFill>
                  <a:srgbClr val="28828B"/>
                </a:solidFill>
                <a:effectLst/>
                <a:uLnTx/>
                <a:uFillTx/>
                <a:latin typeface="HelveticaNeueLT Com 55 Roman"/>
                <a:ea typeface="+mn-ea"/>
                <a:cs typeface="Arial" pitchFamily="34" charset="0"/>
              </a:rPr>
              <a:t>nur 10 Minuten</a:t>
            </a:r>
            <a:r>
              <a:rPr kumimoji="0" lang="de-CH" sz="1800" b="0" i="0" u="none" strike="noStrike" kern="1200" cap="none" spc="0" normalizeH="0" baseline="0" noProof="0" dirty="0">
                <a:ln>
                  <a:noFill/>
                </a:ln>
                <a:solidFill>
                  <a:srgbClr val="868689"/>
                </a:solidFill>
                <a:effectLst/>
                <a:uLnTx/>
                <a:uFillTx/>
                <a:latin typeface="HelveticaNeueLT Com 55 Roman"/>
                <a:ea typeface="+mn-ea"/>
                <a:cs typeface="Arial" pitchFamily="34" charset="0"/>
              </a:rPr>
              <a:t> – voll digital!</a:t>
            </a:r>
            <a:endParaRPr kumimoji="0" lang="de-CH" sz="1800" b="0" i="0" u="none" strike="noStrike" kern="1200" cap="none" spc="0" normalizeH="0" baseline="0" noProof="0" dirty="0">
              <a:ln>
                <a:noFill/>
              </a:ln>
              <a:solidFill>
                <a:srgbClr val="000000"/>
              </a:solidFill>
              <a:effectLst/>
              <a:uLnTx/>
              <a:uFillTx/>
              <a:latin typeface="HelveticaNeueLT Com 55 Roman"/>
              <a:ea typeface="+mn-ea"/>
              <a:cs typeface="+mn-cs"/>
            </a:endParaRPr>
          </a:p>
        </p:txBody>
      </p:sp>
      <p:sp>
        <p:nvSpPr>
          <p:cNvPr id="55" name="Textfeld 54">
            <a:extLst>
              <a:ext uri="{FF2B5EF4-FFF2-40B4-BE49-F238E27FC236}">
                <a16:creationId xmlns:a16="http://schemas.microsoft.com/office/drawing/2014/main" id="{96506D9E-AF4C-43FE-877E-392844E82F20}"/>
              </a:ext>
            </a:extLst>
          </p:cNvPr>
          <p:cNvSpPr txBox="1"/>
          <p:nvPr/>
        </p:nvSpPr>
        <p:spPr>
          <a:xfrm>
            <a:off x="483541" y="1772816"/>
            <a:ext cx="3627545"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2400"/>
              </a:spcBef>
              <a:spcAft>
                <a:spcPts val="0"/>
              </a:spcAft>
              <a:buClrTx/>
              <a:buSzPct val="95000"/>
              <a:buFontTx/>
              <a:buNone/>
              <a:tabLst/>
              <a:defRPr/>
            </a:pPr>
            <a:r>
              <a:rPr kumimoji="0" lang="de-CH" sz="1800" b="0" i="0" u="none" strike="noStrike" kern="1200" cap="none" spc="0" normalizeH="0" baseline="0" noProof="0">
                <a:ln>
                  <a:noFill/>
                </a:ln>
                <a:solidFill>
                  <a:srgbClr val="868689"/>
                </a:solidFill>
                <a:effectLst/>
                <a:uLnTx/>
                <a:uFillTx/>
                <a:latin typeface="HelveticaNeueLT Com 55 Roman"/>
                <a:ea typeface="+mn-ea"/>
                <a:cs typeface="Arial" pitchFamily="34" charset="0"/>
              </a:rPr>
              <a:t>Demokonto eröffnen und </a:t>
            </a:r>
            <a:r>
              <a:rPr kumimoji="0" lang="de-CH" sz="1800" b="1" i="0" u="none" strike="noStrike" kern="1200" cap="none" spc="0" normalizeH="0" baseline="0" noProof="0">
                <a:ln>
                  <a:noFill/>
                </a:ln>
                <a:solidFill>
                  <a:srgbClr val="28828B"/>
                </a:solidFill>
                <a:effectLst/>
                <a:uLnTx/>
                <a:uFillTx/>
                <a:latin typeface="HelveticaNeueLT Com 55 Roman"/>
                <a:ea typeface="+mn-ea"/>
                <a:cs typeface="Arial" pitchFamily="34" charset="0"/>
              </a:rPr>
              <a:t>erste</a:t>
            </a:r>
            <a:br>
              <a:rPr kumimoji="0" lang="de-CH" sz="1800" b="1" i="0" u="none" strike="noStrike" kern="1200" cap="none" spc="0" normalizeH="0" baseline="0" noProof="0">
                <a:ln>
                  <a:noFill/>
                </a:ln>
                <a:solidFill>
                  <a:srgbClr val="28828B"/>
                </a:solidFill>
                <a:effectLst/>
                <a:uLnTx/>
                <a:uFillTx/>
                <a:latin typeface="HelveticaNeueLT Com 55 Roman"/>
                <a:ea typeface="+mn-ea"/>
                <a:cs typeface="Arial" pitchFamily="34" charset="0"/>
              </a:rPr>
            </a:br>
            <a:r>
              <a:rPr kumimoji="0" lang="de-CH" sz="1800" b="1" i="0" u="none" strike="noStrike" kern="1200" cap="none" spc="0" normalizeH="0" baseline="0" noProof="0">
                <a:ln>
                  <a:noFill/>
                </a:ln>
                <a:solidFill>
                  <a:srgbClr val="28828B"/>
                </a:solidFill>
                <a:effectLst/>
                <a:uLnTx/>
                <a:uFillTx/>
                <a:latin typeface="HelveticaNeueLT Com 55 Roman"/>
                <a:ea typeface="+mn-ea"/>
                <a:cs typeface="Arial" pitchFamily="34" charset="0"/>
              </a:rPr>
              <a:t>Erfahrungen</a:t>
            </a:r>
            <a:r>
              <a:rPr kumimoji="0" lang="de-CH" sz="1800" b="0" i="0" u="none" strike="noStrike" kern="1200" cap="none" spc="0" normalizeH="0" baseline="0" noProof="0">
                <a:ln>
                  <a:noFill/>
                </a:ln>
                <a:solidFill>
                  <a:srgbClr val="868689"/>
                </a:solidFill>
                <a:effectLst/>
                <a:uLnTx/>
                <a:uFillTx/>
                <a:latin typeface="HelveticaNeueLT Com 55 Roman"/>
                <a:ea typeface="+mn-ea"/>
                <a:cs typeface="Arial" pitchFamily="34" charset="0"/>
              </a:rPr>
              <a:t> sammeln.</a:t>
            </a:r>
            <a:endParaRPr kumimoji="0" lang="de-CH" sz="1800" b="0" i="0" u="none" strike="noStrike" kern="1200" cap="none" spc="0" normalizeH="0" baseline="0" noProof="0">
              <a:ln>
                <a:noFill/>
              </a:ln>
              <a:solidFill>
                <a:srgbClr val="000000"/>
              </a:solidFill>
              <a:effectLst/>
              <a:uLnTx/>
              <a:uFillTx/>
              <a:latin typeface="HelveticaNeueLT Com 55 Roman"/>
              <a:ea typeface="+mn-ea"/>
              <a:cs typeface="+mn-cs"/>
            </a:endParaRPr>
          </a:p>
        </p:txBody>
      </p:sp>
      <p:sp>
        <p:nvSpPr>
          <p:cNvPr id="56" name="Textfeld 55">
            <a:extLst>
              <a:ext uri="{FF2B5EF4-FFF2-40B4-BE49-F238E27FC236}">
                <a16:creationId xmlns:a16="http://schemas.microsoft.com/office/drawing/2014/main" id="{C6CA1AD9-C2C6-4666-96B1-031394B98414}"/>
              </a:ext>
            </a:extLst>
          </p:cNvPr>
          <p:cNvSpPr txBox="1"/>
          <p:nvPr/>
        </p:nvSpPr>
        <p:spPr bwMode="auto">
          <a:xfrm>
            <a:off x="335360" y="5960313"/>
            <a:ext cx="5015719"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000000"/>
                </a:solidFill>
                <a:effectLst/>
                <a:uLnTx/>
                <a:uFillTx/>
                <a:latin typeface="Corona LT"/>
                <a:ea typeface="+mn-ea"/>
                <a:cs typeface="+mn-cs"/>
                <a:hlinkClick r:id="rId12"/>
              </a:rPr>
              <a:t>https://app.amnistreasury.com/create-a-wir-account</a:t>
            </a:r>
            <a:endParaRPr kumimoji="0" lang="de-CH" sz="1200" b="0" i="0" u="none" strike="noStrike" kern="1200" cap="none" spc="0" normalizeH="0" baseline="0" noProof="0" dirty="0">
              <a:ln>
                <a:noFill/>
              </a:ln>
              <a:solidFill>
                <a:srgbClr val="000000"/>
              </a:solidFill>
              <a:effectLst/>
              <a:uLnTx/>
              <a:uFillTx/>
              <a:latin typeface="Corona LT"/>
              <a:ea typeface="+mn-ea"/>
              <a:cs typeface="+mn-cs"/>
            </a:endParaRPr>
          </a:p>
        </p:txBody>
      </p:sp>
      <p:pic>
        <p:nvPicPr>
          <p:cNvPr id="4" name="Grafik 3">
            <a:extLst>
              <a:ext uri="{FF2B5EF4-FFF2-40B4-BE49-F238E27FC236}">
                <a16:creationId xmlns:a16="http://schemas.microsoft.com/office/drawing/2014/main" id="{78A0296F-FBD4-8B6C-9FCB-65714CEF5336}"/>
              </a:ext>
            </a:extLst>
          </p:cNvPr>
          <p:cNvPicPr>
            <a:picLocks noChangeAspect="1"/>
          </p:cNvPicPr>
          <p:nvPr/>
        </p:nvPicPr>
        <p:blipFill>
          <a:blip r:embed="rId13"/>
          <a:stretch>
            <a:fillRect/>
          </a:stretch>
        </p:blipFill>
        <p:spPr>
          <a:xfrm>
            <a:off x="8322211" y="5000092"/>
            <a:ext cx="1129119" cy="1129119"/>
          </a:xfrm>
          <a:prstGeom prst="rect">
            <a:avLst/>
          </a:prstGeom>
        </p:spPr>
      </p:pic>
    </p:spTree>
    <p:extLst>
      <p:ext uri="{BB962C8B-B14F-4D97-AF65-F5344CB8AC3E}">
        <p14:creationId xmlns:p14="http://schemas.microsoft.com/office/powerpoint/2010/main" val="261128659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CH" dirty="0" err="1"/>
              <a:t>amnis</a:t>
            </a:r>
            <a:r>
              <a:rPr lang="de-CH" dirty="0"/>
              <a:t> – Die All-in-</a:t>
            </a:r>
            <a:r>
              <a:rPr lang="de-CH" dirty="0" err="1"/>
              <a:t>One</a:t>
            </a:r>
            <a:r>
              <a:rPr lang="de-CH" dirty="0"/>
              <a:t> Lösung für Ihr globales Banking</a:t>
            </a:r>
            <a:br>
              <a:rPr lang="de-CH" dirty="0"/>
            </a:br>
            <a:r>
              <a:rPr lang="de-CH" sz="1900" b="0" noProof="1">
                <a:solidFill>
                  <a:srgbClr val="28828B"/>
                </a:solidFill>
                <a:latin typeface="Corona LT" panose="02000604020000090004" pitchFamily="2" charset="0"/>
              </a:rPr>
              <a:t>Vereinfacht internationale Währungsgeschäfte und senkt Ihre Kosten</a:t>
            </a:r>
            <a:endParaRPr lang="de-CH" sz="1900" dirty="0"/>
          </a:p>
        </p:txBody>
      </p:sp>
      <p:sp>
        <p:nvSpPr>
          <p:cNvPr id="9" name="Freeform 2">
            <a:extLst>
              <a:ext uri="{FF2B5EF4-FFF2-40B4-BE49-F238E27FC236}">
                <a16:creationId xmlns:a16="http://schemas.microsoft.com/office/drawing/2014/main" id="{B313C498-0053-494C-9011-9D79368CE401}"/>
              </a:ext>
            </a:extLst>
          </p:cNvPr>
          <p:cNvSpPr>
            <a:spLocks noChangeArrowheads="1"/>
          </p:cNvSpPr>
          <p:nvPr/>
        </p:nvSpPr>
        <p:spPr bwMode="auto">
          <a:xfrm>
            <a:off x="3329662" y="1832469"/>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Globales Firmen-konto für Zahlungs-eingänge </a:t>
            </a:r>
            <a:endParaRPr kumimoji="0" lang="de-CH" sz="1400" b="0" i="0" u="none" strike="noStrike" kern="1200" cap="none" spc="0" normalizeH="0" baseline="0" noProof="0" dirty="0">
              <a:ln>
                <a:noFill/>
              </a:ln>
              <a:solidFill>
                <a:srgbClr val="FFFFFF"/>
              </a:solidFill>
              <a:effectLst/>
              <a:uLnTx/>
              <a:uFillTx/>
              <a:latin typeface="Corona LT"/>
              <a:ea typeface="+mn-ea"/>
              <a:cs typeface="+mn-cs"/>
            </a:endParaRPr>
          </a:p>
        </p:txBody>
      </p:sp>
      <p:sp>
        <p:nvSpPr>
          <p:cNvPr id="10" name="Freeform 2">
            <a:extLst>
              <a:ext uri="{FF2B5EF4-FFF2-40B4-BE49-F238E27FC236}">
                <a16:creationId xmlns:a16="http://schemas.microsoft.com/office/drawing/2014/main" id="{09D43EE5-45D8-4FCD-BE89-DFDFC12528AB}"/>
              </a:ext>
            </a:extLst>
          </p:cNvPr>
          <p:cNvSpPr>
            <a:spLocks noChangeArrowheads="1"/>
          </p:cNvSpPr>
          <p:nvPr/>
        </p:nvSpPr>
        <p:spPr bwMode="auto">
          <a:xfrm>
            <a:off x="8845874" y="1835908"/>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Multi-Währungs-Debitkarten mit Spesenverwaltung</a:t>
            </a:r>
            <a:endPar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endParaRPr>
          </a:p>
        </p:txBody>
      </p:sp>
      <p:sp>
        <p:nvSpPr>
          <p:cNvPr id="11" name="Freeform 2">
            <a:extLst>
              <a:ext uri="{FF2B5EF4-FFF2-40B4-BE49-F238E27FC236}">
                <a16:creationId xmlns:a16="http://schemas.microsoft.com/office/drawing/2014/main" id="{1058835F-1319-4495-A566-91289D1FFE95}"/>
              </a:ext>
            </a:extLst>
          </p:cNvPr>
          <p:cNvSpPr>
            <a:spLocks noChangeArrowheads="1"/>
          </p:cNvSpPr>
          <p:nvPr/>
        </p:nvSpPr>
        <p:spPr bwMode="auto">
          <a:xfrm>
            <a:off x="479376" y="1809014"/>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Schnellste und günstigste Auslands-Zahlungen	</a:t>
            </a:r>
          </a:p>
        </p:txBody>
      </p:sp>
      <p:sp>
        <p:nvSpPr>
          <p:cNvPr id="12" name="Textfeld 11">
            <a:extLst>
              <a:ext uri="{FF2B5EF4-FFF2-40B4-BE49-F238E27FC236}">
                <a16:creationId xmlns:a16="http://schemas.microsoft.com/office/drawing/2014/main" id="{86FBE3E9-7341-4986-B90C-3673A28768BF}"/>
              </a:ext>
            </a:extLst>
          </p:cNvPr>
          <p:cNvSpPr txBox="1"/>
          <p:nvPr/>
        </p:nvSpPr>
        <p:spPr bwMode="auto">
          <a:xfrm>
            <a:off x="3362566" y="1439737"/>
            <a:ext cx="2468435"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COLLECT</a:t>
            </a:r>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566368" y="1438726"/>
            <a:ext cx="2519999" cy="33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PAY</a:t>
            </a:r>
          </a:p>
        </p:txBody>
      </p:sp>
      <p:sp>
        <p:nvSpPr>
          <p:cNvPr id="14" name="Textfeld 13">
            <a:extLst>
              <a:ext uri="{FF2B5EF4-FFF2-40B4-BE49-F238E27FC236}">
                <a16:creationId xmlns:a16="http://schemas.microsoft.com/office/drawing/2014/main" id="{95F32FA2-5172-465B-96AB-4E720FEA9C3A}"/>
              </a:ext>
            </a:extLst>
          </p:cNvPr>
          <p:cNvSpPr txBox="1"/>
          <p:nvPr/>
        </p:nvSpPr>
        <p:spPr bwMode="auto">
          <a:xfrm>
            <a:off x="8863123" y="1438726"/>
            <a:ext cx="2479725" cy="33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dirty="0">
                <a:ln>
                  <a:noFill/>
                </a:ln>
                <a:solidFill>
                  <a:srgbClr val="28828B"/>
                </a:solidFill>
                <a:effectLst/>
                <a:uLnTx/>
                <a:uFillTx/>
                <a:latin typeface="HelveticaNeueLT Com 55 Roman"/>
                <a:ea typeface="+mn-ea"/>
                <a:cs typeface="+mn-cs"/>
              </a:rPr>
              <a:t>CARDS</a:t>
            </a:r>
          </a:p>
        </p:txBody>
      </p:sp>
      <p:sp>
        <p:nvSpPr>
          <p:cNvPr id="15" name="Textfeld 14">
            <a:extLst>
              <a:ext uri="{FF2B5EF4-FFF2-40B4-BE49-F238E27FC236}">
                <a16:creationId xmlns:a16="http://schemas.microsoft.com/office/drawing/2014/main" id="{61110E6E-4F44-4AC8-ADC6-05F44F1BEDD3}"/>
              </a:ext>
            </a:extLst>
          </p:cNvPr>
          <p:cNvSpPr txBox="1"/>
          <p:nvPr/>
        </p:nvSpPr>
        <p:spPr bwMode="auto">
          <a:xfrm>
            <a:off x="754377" y="3689237"/>
            <a:ext cx="2002532"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400" b="0" i="0" u="none" strike="noStrike" kern="1200" cap="none" spc="0" normalizeH="0" baseline="0" noProof="0" dirty="0">
                <a:ln>
                  <a:noFill/>
                </a:ln>
                <a:solidFill>
                  <a:srgbClr val="FFFFFF"/>
                </a:solidFill>
                <a:effectLst/>
                <a:uLnTx/>
                <a:uFillTx/>
                <a:latin typeface="HelveticaNeueLT Com 55 Roman"/>
                <a:ea typeface="+mn-ea"/>
                <a:cs typeface="+mn-cs"/>
              </a:rPr>
              <a:t>PAY ermöglicht es KMU, Lieferanten weltweit direkt zu bezahlen und einfach und günstig internationale Überweisungen auszulösen</a:t>
            </a:r>
          </a:p>
        </p:txBody>
      </p:sp>
      <p:sp>
        <p:nvSpPr>
          <p:cNvPr id="34" name="Textfeld 33">
            <a:extLst>
              <a:ext uri="{FF2B5EF4-FFF2-40B4-BE49-F238E27FC236}">
                <a16:creationId xmlns:a16="http://schemas.microsoft.com/office/drawing/2014/main" id="{F58C61FF-F043-4A96-99D1-05F80C7EA3AF}"/>
              </a:ext>
            </a:extLst>
          </p:cNvPr>
          <p:cNvSpPr txBox="1"/>
          <p:nvPr/>
        </p:nvSpPr>
        <p:spPr bwMode="auto">
          <a:xfrm>
            <a:off x="3488186" y="3689237"/>
            <a:ext cx="207187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400" b="0" i="0" u="none" strike="noStrike" kern="1200" cap="none" spc="0" normalizeH="0" baseline="0" noProof="0" dirty="0">
                <a:ln>
                  <a:noFill/>
                </a:ln>
                <a:solidFill>
                  <a:srgbClr val="FFFFFF"/>
                </a:solidFill>
                <a:effectLst/>
                <a:uLnTx/>
                <a:uFillTx/>
                <a:latin typeface="HelveticaNeueLT Com 55 Roman"/>
                <a:ea typeface="+mn-ea"/>
                <a:cs typeface="+mn-cs"/>
              </a:rPr>
              <a:t>Mit den IBAN Konten von </a:t>
            </a:r>
            <a:r>
              <a:rPr kumimoji="0" lang="de-CH" sz="1400" b="0" i="0" u="none" strike="noStrike" kern="1200" cap="none" spc="0" normalizeH="0" baseline="0" noProof="0" dirty="0" err="1">
                <a:ln>
                  <a:noFill/>
                </a:ln>
                <a:solidFill>
                  <a:srgbClr val="FFFFFF"/>
                </a:solidFill>
                <a:effectLst/>
                <a:uLnTx/>
                <a:uFillTx/>
                <a:latin typeface="HelveticaNeueLT Com 55 Roman"/>
                <a:ea typeface="+mn-ea"/>
                <a:cs typeface="+mn-cs"/>
              </a:rPr>
              <a:t>amnis</a:t>
            </a:r>
            <a:r>
              <a:rPr kumimoji="0" lang="de-CH" sz="1400" b="0" i="0" u="none" strike="noStrike" kern="1200" cap="none" spc="0" normalizeH="0" baseline="0" noProof="0" dirty="0">
                <a:ln>
                  <a:noFill/>
                </a:ln>
                <a:solidFill>
                  <a:srgbClr val="FFFFFF"/>
                </a:solidFill>
                <a:effectLst/>
                <a:uLnTx/>
                <a:uFillTx/>
                <a:latin typeface="HelveticaNeueLT Com 55 Roman"/>
                <a:ea typeface="+mn-ea"/>
                <a:cs typeface="+mn-cs"/>
              </a:rPr>
              <a:t> können Sie Zahlungen in 20+ Währungen empfangen - ohne ein zusätzliches Fremdwährungskonto bei der Bank</a:t>
            </a:r>
          </a:p>
        </p:txBody>
      </p:sp>
      <p:sp>
        <p:nvSpPr>
          <p:cNvPr id="37" name="Textfeld 36">
            <a:extLst>
              <a:ext uri="{FF2B5EF4-FFF2-40B4-BE49-F238E27FC236}">
                <a16:creationId xmlns:a16="http://schemas.microsoft.com/office/drawing/2014/main" id="{72C7DCAB-0A47-4580-99C9-293747DED5FE}"/>
              </a:ext>
            </a:extLst>
          </p:cNvPr>
          <p:cNvSpPr txBox="1"/>
          <p:nvPr/>
        </p:nvSpPr>
        <p:spPr bwMode="auto">
          <a:xfrm>
            <a:off x="9040217" y="3689237"/>
            <a:ext cx="2282490"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lvl="0">
              <a:spcAft>
                <a:spcPts val="800"/>
              </a:spcAft>
            </a:pPr>
            <a:r>
              <a:rPr lang="de-DE" sz="1400" dirty="0">
                <a:solidFill>
                  <a:schemeClr val="bg1"/>
                </a:solidFill>
                <a:latin typeface="+mj-lt"/>
              </a:rPr>
              <a:t>Entdecken Sie die ultimative Firmen-Debitkarte – online, offline und überall dort, wo Sie und Ihr Team unterwegs sind. Vereinfachen Sie Ihre Ausgaben und konzentrieren Sie sich auf Ihr Kerngeschäft</a:t>
            </a:r>
            <a:endParaRPr kumimoji="0" lang="de-CH" sz="1100" b="0" i="0" u="none" strike="noStrike" kern="1200" cap="none" spc="0" normalizeH="0" baseline="0" noProof="0" dirty="0">
              <a:ln>
                <a:noFill/>
              </a:ln>
              <a:solidFill>
                <a:schemeClr val="bg1"/>
              </a:solidFill>
              <a:effectLst/>
              <a:uLnTx/>
              <a:uFillTx/>
              <a:latin typeface="+mj-lt"/>
              <a:ea typeface="+mn-ea"/>
              <a:cs typeface="+mn-cs"/>
            </a:endParaRPr>
          </a:p>
        </p:txBody>
      </p:sp>
      <p:grpSp>
        <p:nvGrpSpPr>
          <p:cNvPr id="16" name="Group 5">
            <a:extLst>
              <a:ext uri="{FF2B5EF4-FFF2-40B4-BE49-F238E27FC236}">
                <a16:creationId xmlns:a16="http://schemas.microsoft.com/office/drawing/2014/main" id="{31136A16-0687-4E85-9085-B334AA7E74B9}"/>
              </a:ext>
            </a:extLst>
          </p:cNvPr>
          <p:cNvGrpSpPr>
            <a:grpSpLocks noChangeAspect="1"/>
          </p:cNvGrpSpPr>
          <p:nvPr/>
        </p:nvGrpSpPr>
        <p:grpSpPr bwMode="auto">
          <a:xfrm>
            <a:off x="10739242" y="5937662"/>
            <a:ext cx="714754" cy="718931"/>
            <a:chOff x="2200" y="754"/>
            <a:chExt cx="1198" cy="1205"/>
          </a:xfrm>
        </p:grpSpPr>
        <p:sp>
          <p:nvSpPr>
            <p:cNvPr id="17" name="AutoShape 4">
              <a:extLst>
                <a:ext uri="{FF2B5EF4-FFF2-40B4-BE49-F238E27FC236}">
                  <a16:creationId xmlns:a16="http://schemas.microsoft.com/office/drawing/2014/main" id="{A84ACD41-7BD9-4A64-BFFB-175995B486BA}"/>
                </a:ext>
              </a:extLst>
            </p:cNvPr>
            <p:cNvSpPr>
              <a:spLocks noChangeAspect="1" noChangeArrowheads="1" noTextEdit="1"/>
            </p:cNvSpPr>
            <p:nvPr/>
          </p:nvSpPr>
          <p:spPr bwMode="auto">
            <a:xfrm>
              <a:off x="2200" y="754"/>
              <a:ext cx="1198" cy="12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nvGrpSpPr>
            <p:cNvPr id="18" name="Group 206">
              <a:extLst>
                <a:ext uri="{FF2B5EF4-FFF2-40B4-BE49-F238E27FC236}">
                  <a16:creationId xmlns:a16="http://schemas.microsoft.com/office/drawing/2014/main" id="{515303FA-274E-447F-8285-A8725D1B15EC}"/>
                </a:ext>
              </a:extLst>
            </p:cNvPr>
            <p:cNvGrpSpPr>
              <a:grpSpLocks/>
            </p:cNvGrpSpPr>
            <p:nvPr/>
          </p:nvGrpSpPr>
          <p:grpSpPr bwMode="auto">
            <a:xfrm>
              <a:off x="2198" y="756"/>
              <a:ext cx="1200" cy="322"/>
              <a:chOff x="2198" y="756"/>
              <a:chExt cx="1200" cy="322"/>
            </a:xfrm>
          </p:grpSpPr>
          <p:sp>
            <p:nvSpPr>
              <p:cNvPr id="636" name="Rectangle 6">
                <a:extLst>
                  <a:ext uri="{FF2B5EF4-FFF2-40B4-BE49-F238E27FC236}">
                    <a16:creationId xmlns:a16="http://schemas.microsoft.com/office/drawing/2014/main" id="{358EB2FB-1E08-409E-8DE7-0666FF83EC90}"/>
                  </a:ext>
                </a:extLst>
              </p:cNvPr>
              <p:cNvSpPr>
                <a:spLocks noChangeArrowheads="1"/>
              </p:cNvSpPr>
              <p:nvPr/>
            </p:nvSpPr>
            <p:spPr bwMode="auto">
              <a:xfrm>
                <a:off x="2198"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7" name="Rectangle 7">
                <a:extLst>
                  <a:ext uri="{FF2B5EF4-FFF2-40B4-BE49-F238E27FC236}">
                    <a16:creationId xmlns:a16="http://schemas.microsoft.com/office/drawing/2014/main" id="{A67FCAD9-24E8-4A9D-8CBD-B83CD9620C1A}"/>
                  </a:ext>
                </a:extLst>
              </p:cNvPr>
              <p:cNvSpPr>
                <a:spLocks noChangeArrowheads="1"/>
              </p:cNvSpPr>
              <p:nvPr/>
            </p:nvSpPr>
            <p:spPr bwMode="auto">
              <a:xfrm>
                <a:off x="2226"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8" name="Rectangle 8">
                <a:extLst>
                  <a:ext uri="{FF2B5EF4-FFF2-40B4-BE49-F238E27FC236}">
                    <a16:creationId xmlns:a16="http://schemas.microsoft.com/office/drawing/2014/main" id="{991161B6-0153-4924-BB76-DC014AF3B593}"/>
                  </a:ext>
                </a:extLst>
              </p:cNvPr>
              <p:cNvSpPr>
                <a:spLocks noChangeArrowheads="1"/>
              </p:cNvSpPr>
              <p:nvPr/>
            </p:nvSpPr>
            <p:spPr bwMode="auto">
              <a:xfrm>
                <a:off x="2257"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9" name="Rectangle 9">
                <a:extLst>
                  <a:ext uri="{FF2B5EF4-FFF2-40B4-BE49-F238E27FC236}">
                    <a16:creationId xmlns:a16="http://schemas.microsoft.com/office/drawing/2014/main" id="{392958AB-AA1D-4510-AB1C-DA1F8F18F6C5}"/>
                  </a:ext>
                </a:extLst>
              </p:cNvPr>
              <p:cNvSpPr>
                <a:spLocks noChangeArrowheads="1"/>
              </p:cNvSpPr>
              <p:nvPr/>
            </p:nvSpPr>
            <p:spPr bwMode="auto">
              <a:xfrm>
                <a:off x="2285"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0" name="Rectangle 10">
                <a:extLst>
                  <a:ext uri="{FF2B5EF4-FFF2-40B4-BE49-F238E27FC236}">
                    <a16:creationId xmlns:a16="http://schemas.microsoft.com/office/drawing/2014/main" id="{C79734F9-4F91-4CA3-ABF4-3ACC0BEA1382}"/>
                  </a:ext>
                </a:extLst>
              </p:cNvPr>
              <p:cNvSpPr>
                <a:spLocks noChangeArrowheads="1"/>
              </p:cNvSpPr>
              <p:nvPr/>
            </p:nvSpPr>
            <p:spPr bwMode="auto">
              <a:xfrm>
                <a:off x="2316"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1" name="Rectangle 11">
                <a:extLst>
                  <a:ext uri="{FF2B5EF4-FFF2-40B4-BE49-F238E27FC236}">
                    <a16:creationId xmlns:a16="http://schemas.microsoft.com/office/drawing/2014/main" id="{5A46AB6D-1A04-4493-9056-8A855B4C499A}"/>
                  </a:ext>
                </a:extLst>
              </p:cNvPr>
              <p:cNvSpPr>
                <a:spLocks noChangeArrowheads="1"/>
              </p:cNvSpPr>
              <p:nvPr/>
            </p:nvSpPr>
            <p:spPr bwMode="auto">
              <a:xfrm>
                <a:off x="2344"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2" name="Rectangle 12">
                <a:extLst>
                  <a:ext uri="{FF2B5EF4-FFF2-40B4-BE49-F238E27FC236}">
                    <a16:creationId xmlns:a16="http://schemas.microsoft.com/office/drawing/2014/main" id="{DF15D4DE-23B1-420F-B776-58FD57C64EB2}"/>
                  </a:ext>
                </a:extLst>
              </p:cNvPr>
              <p:cNvSpPr>
                <a:spLocks noChangeArrowheads="1"/>
              </p:cNvSpPr>
              <p:nvPr/>
            </p:nvSpPr>
            <p:spPr bwMode="auto">
              <a:xfrm>
                <a:off x="2372"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3" name="Rectangle 13">
                <a:extLst>
                  <a:ext uri="{FF2B5EF4-FFF2-40B4-BE49-F238E27FC236}">
                    <a16:creationId xmlns:a16="http://schemas.microsoft.com/office/drawing/2014/main" id="{82F64DD4-BD7F-4323-BEAD-36195A800E46}"/>
                  </a:ext>
                </a:extLst>
              </p:cNvPr>
              <p:cNvSpPr>
                <a:spLocks noChangeArrowheads="1"/>
              </p:cNvSpPr>
              <p:nvPr/>
            </p:nvSpPr>
            <p:spPr bwMode="auto">
              <a:xfrm>
                <a:off x="2462" y="756"/>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4" name="Rectangle 14">
                <a:extLst>
                  <a:ext uri="{FF2B5EF4-FFF2-40B4-BE49-F238E27FC236}">
                    <a16:creationId xmlns:a16="http://schemas.microsoft.com/office/drawing/2014/main" id="{7D34D434-881B-4B71-A1F9-A8F9A0C21384}"/>
                  </a:ext>
                </a:extLst>
              </p:cNvPr>
              <p:cNvSpPr>
                <a:spLocks noChangeArrowheads="1"/>
              </p:cNvSpPr>
              <p:nvPr/>
            </p:nvSpPr>
            <p:spPr bwMode="auto">
              <a:xfrm>
                <a:off x="2519"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5" name="Rectangle 15">
                <a:extLst>
                  <a:ext uri="{FF2B5EF4-FFF2-40B4-BE49-F238E27FC236}">
                    <a16:creationId xmlns:a16="http://schemas.microsoft.com/office/drawing/2014/main" id="{D2A60F88-ABBE-4F61-B8C1-9D985C6CD8F6}"/>
                  </a:ext>
                </a:extLst>
              </p:cNvPr>
              <p:cNvSpPr>
                <a:spLocks noChangeArrowheads="1"/>
              </p:cNvSpPr>
              <p:nvPr/>
            </p:nvSpPr>
            <p:spPr bwMode="auto">
              <a:xfrm>
                <a:off x="2606"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6" name="Rectangle 16">
                <a:extLst>
                  <a:ext uri="{FF2B5EF4-FFF2-40B4-BE49-F238E27FC236}">
                    <a16:creationId xmlns:a16="http://schemas.microsoft.com/office/drawing/2014/main" id="{83C178BC-18C5-4FA5-857C-C0737D300851}"/>
                  </a:ext>
                </a:extLst>
              </p:cNvPr>
              <p:cNvSpPr>
                <a:spLocks noChangeArrowheads="1"/>
              </p:cNvSpPr>
              <p:nvPr/>
            </p:nvSpPr>
            <p:spPr bwMode="auto">
              <a:xfrm>
                <a:off x="2665"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7" name="Rectangle 17">
                <a:extLst>
                  <a:ext uri="{FF2B5EF4-FFF2-40B4-BE49-F238E27FC236}">
                    <a16:creationId xmlns:a16="http://schemas.microsoft.com/office/drawing/2014/main" id="{1B1841C9-AF11-4FDA-822A-0A55243BD37A}"/>
                  </a:ext>
                </a:extLst>
              </p:cNvPr>
              <p:cNvSpPr>
                <a:spLocks noChangeArrowheads="1"/>
              </p:cNvSpPr>
              <p:nvPr/>
            </p:nvSpPr>
            <p:spPr bwMode="auto">
              <a:xfrm>
                <a:off x="2930"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8" name="Rectangle 18">
                <a:extLst>
                  <a:ext uri="{FF2B5EF4-FFF2-40B4-BE49-F238E27FC236}">
                    <a16:creationId xmlns:a16="http://schemas.microsoft.com/office/drawing/2014/main" id="{F4859A4E-D764-4E41-9509-2404D704AF32}"/>
                  </a:ext>
                </a:extLst>
              </p:cNvPr>
              <p:cNvSpPr>
                <a:spLocks noChangeArrowheads="1"/>
              </p:cNvSpPr>
              <p:nvPr/>
            </p:nvSpPr>
            <p:spPr bwMode="auto">
              <a:xfrm>
                <a:off x="2958"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9" name="Rectangle 19">
                <a:extLst>
                  <a:ext uri="{FF2B5EF4-FFF2-40B4-BE49-F238E27FC236}">
                    <a16:creationId xmlns:a16="http://schemas.microsoft.com/office/drawing/2014/main" id="{8A08D697-E4BF-4370-BEA7-1E71A5FC2C81}"/>
                  </a:ext>
                </a:extLst>
              </p:cNvPr>
              <p:cNvSpPr>
                <a:spLocks noChangeArrowheads="1"/>
              </p:cNvSpPr>
              <p:nvPr/>
            </p:nvSpPr>
            <p:spPr bwMode="auto">
              <a:xfrm>
                <a:off x="3018"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0" name="Rectangle 20">
                <a:extLst>
                  <a:ext uri="{FF2B5EF4-FFF2-40B4-BE49-F238E27FC236}">
                    <a16:creationId xmlns:a16="http://schemas.microsoft.com/office/drawing/2014/main" id="{B0AC543B-4CDB-4468-9290-3555A3E295F9}"/>
                  </a:ext>
                </a:extLst>
              </p:cNvPr>
              <p:cNvSpPr>
                <a:spLocks noChangeArrowheads="1"/>
              </p:cNvSpPr>
              <p:nvPr/>
            </p:nvSpPr>
            <p:spPr bwMode="auto">
              <a:xfrm>
                <a:off x="3192"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1" name="Rectangle 21">
                <a:extLst>
                  <a:ext uri="{FF2B5EF4-FFF2-40B4-BE49-F238E27FC236}">
                    <a16:creationId xmlns:a16="http://schemas.microsoft.com/office/drawing/2014/main" id="{D04397CF-CB53-4BF3-892E-BF9521F0F6D7}"/>
                  </a:ext>
                </a:extLst>
              </p:cNvPr>
              <p:cNvSpPr>
                <a:spLocks noChangeArrowheads="1"/>
              </p:cNvSpPr>
              <p:nvPr/>
            </p:nvSpPr>
            <p:spPr bwMode="auto">
              <a:xfrm>
                <a:off x="3223"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2" name="Rectangle 22">
                <a:extLst>
                  <a:ext uri="{FF2B5EF4-FFF2-40B4-BE49-F238E27FC236}">
                    <a16:creationId xmlns:a16="http://schemas.microsoft.com/office/drawing/2014/main" id="{B00DFA9F-1A4B-426F-9F87-A8FC199C6D02}"/>
                  </a:ext>
                </a:extLst>
              </p:cNvPr>
              <p:cNvSpPr>
                <a:spLocks noChangeArrowheads="1"/>
              </p:cNvSpPr>
              <p:nvPr/>
            </p:nvSpPr>
            <p:spPr bwMode="auto">
              <a:xfrm>
                <a:off x="3251" y="756"/>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3" name="Rectangle 23">
                <a:extLst>
                  <a:ext uri="{FF2B5EF4-FFF2-40B4-BE49-F238E27FC236}">
                    <a16:creationId xmlns:a16="http://schemas.microsoft.com/office/drawing/2014/main" id="{71F47DDD-C39F-49DD-BC62-57FCE075F4B0}"/>
                  </a:ext>
                </a:extLst>
              </p:cNvPr>
              <p:cNvSpPr>
                <a:spLocks noChangeArrowheads="1"/>
              </p:cNvSpPr>
              <p:nvPr/>
            </p:nvSpPr>
            <p:spPr bwMode="auto">
              <a:xfrm>
                <a:off x="3280"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4" name="Rectangle 24">
                <a:extLst>
                  <a:ext uri="{FF2B5EF4-FFF2-40B4-BE49-F238E27FC236}">
                    <a16:creationId xmlns:a16="http://schemas.microsoft.com/office/drawing/2014/main" id="{42186F69-0460-4862-8E43-384C8B55FBCF}"/>
                  </a:ext>
                </a:extLst>
              </p:cNvPr>
              <p:cNvSpPr>
                <a:spLocks noChangeArrowheads="1"/>
              </p:cNvSpPr>
              <p:nvPr/>
            </p:nvSpPr>
            <p:spPr bwMode="auto">
              <a:xfrm>
                <a:off x="3311"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5" name="Rectangle 25">
                <a:extLst>
                  <a:ext uri="{FF2B5EF4-FFF2-40B4-BE49-F238E27FC236}">
                    <a16:creationId xmlns:a16="http://schemas.microsoft.com/office/drawing/2014/main" id="{8A8C8DCD-BB8E-4B69-BEF0-1BFCF30A7FC3}"/>
                  </a:ext>
                </a:extLst>
              </p:cNvPr>
              <p:cNvSpPr>
                <a:spLocks noChangeArrowheads="1"/>
              </p:cNvSpPr>
              <p:nvPr/>
            </p:nvSpPr>
            <p:spPr bwMode="auto">
              <a:xfrm>
                <a:off x="3339" y="75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6" name="Rectangle 26">
                <a:extLst>
                  <a:ext uri="{FF2B5EF4-FFF2-40B4-BE49-F238E27FC236}">
                    <a16:creationId xmlns:a16="http://schemas.microsoft.com/office/drawing/2014/main" id="{8FAB8F80-167A-404E-BA14-35F3D87483DA}"/>
                  </a:ext>
                </a:extLst>
              </p:cNvPr>
              <p:cNvSpPr>
                <a:spLocks noChangeArrowheads="1"/>
              </p:cNvSpPr>
              <p:nvPr/>
            </p:nvSpPr>
            <p:spPr bwMode="auto">
              <a:xfrm>
                <a:off x="3370" y="75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7" name="Rectangle 27">
                <a:extLst>
                  <a:ext uri="{FF2B5EF4-FFF2-40B4-BE49-F238E27FC236}">
                    <a16:creationId xmlns:a16="http://schemas.microsoft.com/office/drawing/2014/main" id="{D05CB25F-7512-422E-A1A4-6DEF59C8FD60}"/>
                  </a:ext>
                </a:extLst>
              </p:cNvPr>
              <p:cNvSpPr>
                <a:spLocks noChangeArrowheads="1"/>
              </p:cNvSpPr>
              <p:nvPr/>
            </p:nvSpPr>
            <p:spPr bwMode="auto">
              <a:xfrm>
                <a:off x="2198"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8" name="Rectangle 28">
                <a:extLst>
                  <a:ext uri="{FF2B5EF4-FFF2-40B4-BE49-F238E27FC236}">
                    <a16:creationId xmlns:a16="http://schemas.microsoft.com/office/drawing/2014/main" id="{3CAE9982-F8E8-49F1-90C0-D053D8660509}"/>
                  </a:ext>
                </a:extLst>
              </p:cNvPr>
              <p:cNvSpPr>
                <a:spLocks noChangeArrowheads="1"/>
              </p:cNvSpPr>
              <p:nvPr/>
            </p:nvSpPr>
            <p:spPr bwMode="auto">
              <a:xfrm>
                <a:off x="237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9" name="Rectangle 29">
                <a:extLst>
                  <a:ext uri="{FF2B5EF4-FFF2-40B4-BE49-F238E27FC236}">
                    <a16:creationId xmlns:a16="http://schemas.microsoft.com/office/drawing/2014/main" id="{E8FF9E9C-C3FB-49DA-82DA-26625BA208B9}"/>
                  </a:ext>
                </a:extLst>
              </p:cNvPr>
              <p:cNvSpPr>
                <a:spLocks noChangeArrowheads="1"/>
              </p:cNvSpPr>
              <p:nvPr/>
            </p:nvSpPr>
            <p:spPr bwMode="auto">
              <a:xfrm>
                <a:off x="2462" y="78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0" name="Rectangle 30">
                <a:extLst>
                  <a:ext uri="{FF2B5EF4-FFF2-40B4-BE49-F238E27FC236}">
                    <a16:creationId xmlns:a16="http://schemas.microsoft.com/office/drawing/2014/main" id="{64136EE7-7CE8-425D-9983-B1C5737C783F}"/>
                  </a:ext>
                </a:extLst>
              </p:cNvPr>
              <p:cNvSpPr>
                <a:spLocks noChangeArrowheads="1"/>
              </p:cNvSpPr>
              <p:nvPr/>
            </p:nvSpPr>
            <p:spPr bwMode="auto">
              <a:xfrm>
                <a:off x="2578"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1" name="Rectangle 31">
                <a:extLst>
                  <a:ext uri="{FF2B5EF4-FFF2-40B4-BE49-F238E27FC236}">
                    <a16:creationId xmlns:a16="http://schemas.microsoft.com/office/drawing/2014/main" id="{A8229143-A46E-4E9C-9834-0AC774D5D9B9}"/>
                  </a:ext>
                </a:extLst>
              </p:cNvPr>
              <p:cNvSpPr>
                <a:spLocks noChangeArrowheads="1"/>
              </p:cNvSpPr>
              <p:nvPr/>
            </p:nvSpPr>
            <p:spPr bwMode="auto">
              <a:xfrm>
                <a:off x="2606"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2" name="Rectangle 32">
                <a:extLst>
                  <a:ext uri="{FF2B5EF4-FFF2-40B4-BE49-F238E27FC236}">
                    <a16:creationId xmlns:a16="http://schemas.microsoft.com/office/drawing/2014/main" id="{ED3ED8F6-FAA8-42E4-B7FF-09372289FC61}"/>
                  </a:ext>
                </a:extLst>
              </p:cNvPr>
              <p:cNvSpPr>
                <a:spLocks noChangeArrowheads="1"/>
              </p:cNvSpPr>
              <p:nvPr/>
            </p:nvSpPr>
            <p:spPr bwMode="auto">
              <a:xfrm>
                <a:off x="2696" y="78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3" name="Rectangle 33">
                <a:extLst>
                  <a:ext uri="{FF2B5EF4-FFF2-40B4-BE49-F238E27FC236}">
                    <a16:creationId xmlns:a16="http://schemas.microsoft.com/office/drawing/2014/main" id="{44089ECA-54C2-4CE0-929F-0B07E21135E6}"/>
                  </a:ext>
                </a:extLst>
              </p:cNvPr>
              <p:cNvSpPr>
                <a:spLocks noChangeArrowheads="1"/>
              </p:cNvSpPr>
              <p:nvPr/>
            </p:nvSpPr>
            <p:spPr bwMode="auto">
              <a:xfrm>
                <a:off x="2784"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4" name="Rectangle 34">
                <a:extLst>
                  <a:ext uri="{FF2B5EF4-FFF2-40B4-BE49-F238E27FC236}">
                    <a16:creationId xmlns:a16="http://schemas.microsoft.com/office/drawing/2014/main" id="{B57A71B1-8BFD-4908-9404-34A043E4ADB2}"/>
                  </a:ext>
                </a:extLst>
              </p:cNvPr>
              <p:cNvSpPr>
                <a:spLocks noChangeArrowheads="1"/>
              </p:cNvSpPr>
              <p:nvPr/>
            </p:nvSpPr>
            <p:spPr bwMode="auto">
              <a:xfrm>
                <a:off x="281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5" name="Rectangle 35">
                <a:extLst>
                  <a:ext uri="{FF2B5EF4-FFF2-40B4-BE49-F238E27FC236}">
                    <a16:creationId xmlns:a16="http://schemas.microsoft.com/office/drawing/2014/main" id="{61067E55-F975-4F22-B7D2-E0971F9B47C8}"/>
                  </a:ext>
                </a:extLst>
              </p:cNvPr>
              <p:cNvSpPr>
                <a:spLocks noChangeArrowheads="1"/>
              </p:cNvSpPr>
              <p:nvPr/>
            </p:nvSpPr>
            <p:spPr bwMode="auto">
              <a:xfrm>
                <a:off x="2843"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6" name="Rectangle 36">
                <a:extLst>
                  <a:ext uri="{FF2B5EF4-FFF2-40B4-BE49-F238E27FC236}">
                    <a16:creationId xmlns:a16="http://schemas.microsoft.com/office/drawing/2014/main" id="{62B56894-F2A1-49EF-A951-F9A01CC32EE1}"/>
                  </a:ext>
                </a:extLst>
              </p:cNvPr>
              <p:cNvSpPr>
                <a:spLocks noChangeArrowheads="1"/>
              </p:cNvSpPr>
              <p:nvPr/>
            </p:nvSpPr>
            <p:spPr bwMode="auto">
              <a:xfrm>
                <a:off x="2899"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7" name="Rectangle 37">
                <a:extLst>
                  <a:ext uri="{FF2B5EF4-FFF2-40B4-BE49-F238E27FC236}">
                    <a16:creationId xmlns:a16="http://schemas.microsoft.com/office/drawing/2014/main" id="{A9A3C477-85FF-479C-ABAC-3A1A4BAF2838}"/>
                  </a:ext>
                </a:extLst>
              </p:cNvPr>
              <p:cNvSpPr>
                <a:spLocks noChangeArrowheads="1"/>
              </p:cNvSpPr>
              <p:nvPr/>
            </p:nvSpPr>
            <p:spPr bwMode="auto">
              <a:xfrm>
                <a:off x="2958"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8" name="Rectangle 38">
                <a:extLst>
                  <a:ext uri="{FF2B5EF4-FFF2-40B4-BE49-F238E27FC236}">
                    <a16:creationId xmlns:a16="http://schemas.microsoft.com/office/drawing/2014/main" id="{5ACFEC41-B3E7-4774-BE66-AA551AFD9419}"/>
                  </a:ext>
                </a:extLst>
              </p:cNvPr>
              <p:cNvSpPr>
                <a:spLocks noChangeArrowheads="1"/>
              </p:cNvSpPr>
              <p:nvPr/>
            </p:nvSpPr>
            <p:spPr bwMode="auto">
              <a:xfrm>
                <a:off x="3077"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9" name="Rectangle 39">
                <a:extLst>
                  <a:ext uri="{FF2B5EF4-FFF2-40B4-BE49-F238E27FC236}">
                    <a16:creationId xmlns:a16="http://schemas.microsoft.com/office/drawing/2014/main" id="{25565643-4118-481E-8803-0F9175CB40FC}"/>
                  </a:ext>
                </a:extLst>
              </p:cNvPr>
              <p:cNvSpPr>
                <a:spLocks noChangeArrowheads="1"/>
              </p:cNvSpPr>
              <p:nvPr/>
            </p:nvSpPr>
            <p:spPr bwMode="auto">
              <a:xfrm>
                <a:off x="3192" y="78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0" name="Rectangle 40">
                <a:extLst>
                  <a:ext uri="{FF2B5EF4-FFF2-40B4-BE49-F238E27FC236}">
                    <a16:creationId xmlns:a16="http://schemas.microsoft.com/office/drawing/2014/main" id="{E00FBB26-EA96-41E8-8D10-827E979BCF51}"/>
                  </a:ext>
                </a:extLst>
              </p:cNvPr>
              <p:cNvSpPr>
                <a:spLocks noChangeArrowheads="1"/>
              </p:cNvSpPr>
              <p:nvPr/>
            </p:nvSpPr>
            <p:spPr bwMode="auto">
              <a:xfrm>
                <a:off x="3370" y="78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1" name="Rectangle 41">
                <a:extLst>
                  <a:ext uri="{FF2B5EF4-FFF2-40B4-BE49-F238E27FC236}">
                    <a16:creationId xmlns:a16="http://schemas.microsoft.com/office/drawing/2014/main" id="{224DC347-9BF0-4D0F-8F63-24ECB931FB39}"/>
                  </a:ext>
                </a:extLst>
              </p:cNvPr>
              <p:cNvSpPr>
                <a:spLocks noChangeArrowheads="1"/>
              </p:cNvSpPr>
              <p:nvPr/>
            </p:nvSpPr>
            <p:spPr bwMode="auto">
              <a:xfrm>
                <a:off x="2198"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2" name="Rectangle 42">
                <a:extLst>
                  <a:ext uri="{FF2B5EF4-FFF2-40B4-BE49-F238E27FC236}">
                    <a16:creationId xmlns:a16="http://schemas.microsoft.com/office/drawing/2014/main" id="{0A364BB6-A44B-466D-AE87-0370D1ECAF00}"/>
                  </a:ext>
                </a:extLst>
              </p:cNvPr>
              <p:cNvSpPr>
                <a:spLocks noChangeArrowheads="1"/>
              </p:cNvSpPr>
              <p:nvPr/>
            </p:nvSpPr>
            <p:spPr bwMode="auto">
              <a:xfrm>
                <a:off x="2257"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3" name="Rectangle 43">
                <a:extLst>
                  <a:ext uri="{FF2B5EF4-FFF2-40B4-BE49-F238E27FC236}">
                    <a16:creationId xmlns:a16="http://schemas.microsoft.com/office/drawing/2014/main" id="{AC4EAA75-3E87-4E28-904C-E19DB62266BE}"/>
                  </a:ext>
                </a:extLst>
              </p:cNvPr>
              <p:cNvSpPr>
                <a:spLocks noChangeArrowheads="1"/>
              </p:cNvSpPr>
              <p:nvPr/>
            </p:nvSpPr>
            <p:spPr bwMode="auto">
              <a:xfrm>
                <a:off x="2285"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4" name="Rectangle 44">
                <a:extLst>
                  <a:ext uri="{FF2B5EF4-FFF2-40B4-BE49-F238E27FC236}">
                    <a16:creationId xmlns:a16="http://schemas.microsoft.com/office/drawing/2014/main" id="{43440912-46B1-41DB-A918-9430BADCB5A4}"/>
                  </a:ext>
                </a:extLst>
              </p:cNvPr>
              <p:cNvSpPr>
                <a:spLocks noChangeArrowheads="1"/>
              </p:cNvSpPr>
              <p:nvPr/>
            </p:nvSpPr>
            <p:spPr bwMode="auto">
              <a:xfrm>
                <a:off x="2316"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5" name="Rectangle 45">
                <a:extLst>
                  <a:ext uri="{FF2B5EF4-FFF2-40B4-BE49-F238E27FC236}">
                    <a16:creationId xmlns:a16="http://schemas.microsoft.com/office/drawing/2014/main" id="{7F0128AE-5C6E-47CC-A88A-39664E1B228E}"/>
                  </a:ext>
                </a:extLst>
              </p:cNvPr>
              <p:cNvSpPr>
                <a:spLocks noChangeArrowheads="1"/>
              </p:cNvSpPr>
              <p:nvPr/>
            </p:nvSpPr>
            <p:spPr bwMode="auto">
              <a:xfrm>
                <a:off x="237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6" name="Rectangle 46">
                <a:extLst>
                  <a:ext uri="{FF2B5EF4-FFF2-40B4-BE49-F238E27FC236}">
                    <a16:creationId xmlns:a16="http://schemas.microsoft.com/office/drawing/2014/main" id="{C409C8F8-3D65-43A7-8172-9B69FBDDF7CC}"/>
                  </a:ext>
                </a:extLst>
              </p:cNvPr>
              <p:cNvSpPr>
                <a:spLocks noChangeArrowheads="1"/>
              </p:cNvSpPr>
              <p:nvPr/>
            </p:nvSpPr>
            <p:spPr bwMode="auto">
              <a:xfrm>
                <a:off x="2462"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7" name="Rectangle 47">
                <a:extLst>
                  <a:ext uri="{FF2B5EF4-FFF2-40B4-BE49-F238E27FC236}">
                    <a16:creationId xmlns:a16="http://schemas.microsoft.com/office/drawing/2014/main" id="{FED944B1-0834-4340-9B74-28BF0C66FF26}"/>
                  </a:ext>
                </a:extLst>
              </p:cNvPr>
              <p:cNvSpPr>
                <a:spLocks noChangeArrowheads="1"/>
              </p:cNvSpPr>
              <p:nvPr/>
            </p:nvSpPr>
            <p:spPr bwMode="auto">
              <a:xfrm>
                <a:off x="249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8" name="Rectangle 48">
                <a:extLst>
                  <a:ext uri="{FF2B5EF4-FFF2-40B4-BE49-F238E27FC236}">
                    <a16:creationId xmlns:a16="http://schemas.microsoft.com/office/drawing/2014/main" id="{E684F3A8-C42A-4A81-8EAE-0FF9BC665292}"/>
                  </a:ext>
                </a:extLst>
              </p:cNvPr>
              <p:cNvSpPr>
                <a:spLocks noChangeArrowheads="1"/>
              </p:cNvSpPr>
              <p:nvPr/>
            </p:nvSpPr>
            <p:spPr bwMode="auto">
              <a:xfrm>
                <a:off x="2519"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9" name="Rectangle 49">
                <a:extLst>
                  <a:ext uri="{FF2B5EF4-FFF2-40B4-BE49-F238E27FC236}">
                    <a16:creationId xmlns:a16="http://schemas.microsoft.com/office/drawing/2014/main" id="{C5A83BD8-360B-478F-8012-0BD259DDF226}"/>
                  </a:ext>
                </a:extLst>
              </p:cNvPr>
              <p:cNvSpPr>
                <a:spLocks noChangeArrowheads="1"/>
              </p:cNvSpPr>
              <p:nvPr/>
            </p:nvSpPr>
            <p:spPr bwMode="auto">
              <a:xfrm>
                <a:off x="2578"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0" name="Rectangle 50">
                <a:extLst>
                  <a:ext uri="{FF2B5EF4-FFF2-40B4-BE49-F238E27FC236}">
                    <a16:creationId xmlns:a16="http://schemas.microsoft.com/office/drawing/2014/main" id="{9CAF3346-78A7-439A-93CE-22991F8F62D2}"/>
                  </a:ext>
                </a:extLst>
              </p:cNvPr>
              <p:cNvSpPr>
                <a:spLocks noChangeArrowheads="1"/>
              </p:cNvSpPr>
              <p:nvPr/>
            </p:nvSpPr>
            <p:spPr bwMode="auto">
              <a:xfrm>
                <a:off x="2696"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1" name="Rectangle 51">
                <a:extLst>
                  <a:ext uri="{FF2B5EF4-FFF2-40B4-BE49-F238E27FC236}">
                    <a16:creationId xmlns:a16="http://schemas.microsoft.com/office/drawing/2014/main" id="{F30FF12D-F2BA-4ABB-BF65-30D1BC947438}"/>
                  </a:ext>
                </a:extLst>
              </p:cNvPr>
              <p:cNvSpPr>
                <a:spLocks noChangeArrowheads="1"/>
              </p:cNvSpPr>
              <p:nvPr/>
            </p:nvSpPr>
            <p:spPr bwMode="auto">
              <a:xfrm>
                <a:off x="2725"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2" name="Rectangle 52">
                <a:extLst>
                  <a:ext uri="{FF2B5EF4-FFF2-40B4-BE49-F238E27FC236}">
                    <a16:creationId xmlns:a16="http://schemas.microsoft.com/office/drawing/2014/main" id="{C56DD57D-8DFA-48BD-A588-D2FBE643CC3E}"/>
                  </a:ext>
                </a:extLst>
              </p:cNvPr>
              <p:cNvSpPr>
                <a:spLocks noChangeArrowheads="1"/>
              </p:cNvSpPr>
              <p:nvPr/>
            </p:nvSpPr>
            <p:spPr bwMode="auto">
              <a:xfrm>
                <a:off x="2753"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3" name="Rectangle 53">
                <a:extLst>
                  <a:ext uri="{FF2B5EF4-FFF2-40B4-BE49-F238E27FC236}">
                    <a16:creationId xmlns:a16="http://schemas.microsoft.com/office/drawing/2014/main" id="{91549781-A396-4F0F-89E7-C61BF7BE6CD2}"/>
                  </a:ext>
                </a:extLst>
              </p:cNvPr>
              <p:cNvSpPr>
                <a:spLocks noChangeArrowheads="1"/>
              </p:cNvSpPr>
              <p:nvPr/>
            </p:nvSpPr>
            <p:spPr bwMode="auto">
              <a:xfrm>
                <a:off x="2784"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4" name="Rectangle 54">
                <a:extLst>
                  <a:ext uri="{FF2B5EF4-FFF2-40B4-BE49-F238E27FC236}">
                    <a16:creationId xmlns:a16="http://schemas.microsoft.com/office/drawing/2014/main" id="{11142F12-DDD3-4D52-ADB8-391E0F3F7A50}"/>
                  </a:ext>
                </a:extLst>
              </p:cNvPr>
              <p:cNvSpPr>
                <a:spLocks noChangeArrowheads="1"/>
              </p:cNvSpPr>
              <p:nvPr/>
            </p:nvSpPr>
            <p:spPr bwMode="auto">
              <a:xfrm>
                <a:off x="281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5" name="Rectangle 55">
                <a:extLst>
                  <a:ext uri="{FF2B5EF4-FFF2-40B4-BE49-F238E27FC236}">
                    <a16:creationId xmlns:a16="http://schemas.microsoft.com/office/drawing/2014/main" id="{AF1040F6-FE5B-4578-ACB4-281FFA364A6A}"/>
                  </a:ext>
                </a:extLst>
              </p:cNvPr>
              <p:cNvSpPr>
                <a:spLocks noChangeArrowheads="1"/>
              </p:cNvSpPr>
              <p:nvPr/>
            </p:nvSpPr>
            <p:spPr bwMode="auto">
              <a:xfrm>
                <a:off x="287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6" name="Rectangle 56">
                <a:extLst>
                  <a:ext uri="{FF2B5EF4-FFF2-40B4-BE49-F238E27FC236}">
                    <a16:creationId xmlns:a16="http://schemas.microsoft.com/office/drawing/2014/main" id="{2DC5E363-4DE0-4A8A-A68D-5B5131D39C15}"/>
                  </a:ext>
                </a:extLst>
              </p:cNvPr>
              <p:cNvSpPr>
                <a:spLocks noChangeArrowheads="1"/>
              </p:cNvSpPr>
              <p:nvPr/>
            </p:nvSpPr>
            <p:spPr bwMode="auto">
              <a:xfrm>
                <a:off x="2989"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7" name="Rectangle 57">
                <a:extLst>
                  <a:ext uri="{FF2B5EF4-FFF2-40B4-BE49-F238E27FC236}">
                    <a16:creationId xmlns:a16="http://schemas.microsoft.com/office/drawing/2014/main" id="{17666905-C832-4ECA-9726-B9BE5052CD66}"/>
                  </a:ext>
                </a:extLst>
              </p:cNvPr>
              <p:cNvSpPr>
                <a:spLocks noChangeArrowheads="1"/>
              </p:cNvSpPr>
              <p:nvPr/>
            </p:nvSpPr>
            <p:spPr bwMode="auto">
              <a:xfrm>
                <a:off x="3133"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8" name="Rectangle 58">
                <a:extLst>
                  <a:ext uri="{FF2B5EF4-FFF2-40B4-BE49-F238E27FC236}">
                    <a16:creationId xmlns:a16="http://schemas.microsoft.com/office/drawing/2014/main" id="{4E8292C2-4C67-4E1E-A39F-978670C90938}"/>
                  </a:ext>
                </a:extLst>
              </p:cNvPr>
              <p:cNvSpPr>
                <a:spLocks noChangeArrowheads="1"/>
              </p:cNvSpPr>
              <p:nvPr/>
            </p:nvSpPr>
            <p:spPr bwMode="auto">
              <a:xfrm>
                <a:off x="3192"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9" name="Rectangle 59">
                <a:extLst>
                  <a:ext uri="{FF2B5EF4-FFF2-40B4-BE49-F238E27FC236}">
                    <a16:creationId xmlns:a16="http://schemas.microsoft.com/office/drawing/2014/main" id="{600C75BB-8C27-4345-AD61-0B38BBC09593}"/>
                  </a:ext>
                </a:extLst>
              </p:cNvPr>
              <p:cNvSpPr>
                <a:spLocks noChangeArrowheads="1"/>
              </p:cNvSpPr>
              <p:nvPr/>
            </p:nvSpPr>
            <p:spPr bwMode="auto">
              <a:xfrm>
                <a:off x="3251" y="81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0" name="Rectangle 60">
                <a:extLst>
                  <a:ext uri="{FF2B5EF4-FFF2-40B4-BE49-F238E27FC236}">
                    <a16:creationId xmlns:a16="http://schemas.microsoft.com/office/drawing/2014/main" id="{CC0ACA5F-FF4C-456A-801A-FDBD08157467}"/>
                  </a:ext>
                </a:extLst>
              </p:cNvPr>
              <p:cNvSpPr>
                <a:spLocks noChangeArrowheads="1"/>
              </p:cNvSpPr>
              <p:nvPr/>
            </p:nvSpPr>
            <p:spPr bwMode="auto">
              <a:xfrm>
                <a:off x="3280" y="81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1" name="Rectangle 61">
                <a:extLst>
                  <a:ext uri="{FF2B5EF4-FFF2-40B4-BE49-F238E27FC236}">
                    <a16:creationId xmlns:a16="http://schemas.microsoft.com/office/drawing/2014/main" id="{33028BA5-0987-407B-B1AF-F814DFE10A2E}"/>
                  </a:ext>
                </a:extLst>
              </p:cNvPr>
              <p:cNvSpPr>
                <a:spLocks noChangeArrowheads="1"/>
              </p:cNvSpPr>
              <p:nvPr/>
            </p:nvSpPr>
            <p:spPr bwMode="auto">
              <a:xfrm>
                <a:off x="3311"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2" name="Rectangle 62">
                <a:extLst>
                  <a:ext uri="{FF2B5EF4-FFF2-40B4-BE49-F238E27FC236}">
                    <a16:creationId xmlns:a16="http://schemas.microsoft.com/office/drawing/2014/main" id="{AB8BD309-EC0A-4F17-AD64-A91F7E910C61}"/>
                  </a:ext>
                </a:extLst>
              </p:cNvPr>
              <p:cNvSpPr>
                <a:spLocks noChangeArrowheads="1"/>
              </p:cNvSpPr>
              <p:nvPr/>
            </p:nvSpPr>
            <p:spPr bwMode="auto">
              <a:xfrm>
                <a:off x="3370" y="81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3" name="Rectangle 63">
                <a:extLst>
                  <a:ext uri="{FF2B5EF4-FFF2-40B4-BE49-F238E27FC236}">
                    <a16:creationId xmlns:a16="http://schemas.microsoft.com/office/drawing/2014/main" id="{DE5DE5B4-4788-4891-AA11-82173F3E33B6}"/>
                  </a:ext>
                </a:extLst>
              </p:cNvPr>
              <p:cNvSpPr>
                <a:spLocks noChangeArrowheads="1"/>
              </p:cNvSpPr>
              <p:nvPr/>
            </p:nvSpPr>
            <p:spPr bwMode="auto">
              <a:xfrm>
                <a:off x="2198"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4" name="Rectangle 64">
                <a:extLst>
                  <a:ext uri="{FF2B5EF4-FFF2-40B4-BE49-F238E27FC236}">
                    <a16:creationId xmlns:a16="http://schemas.microsoft.com/office/drawing/2014/main" id="{2BF481E3-64A2-4F29-90F1-B68951E065D2}"/>
                  </a:ext>
                </a:extLst>
              </p:cNvPr>
              <p:cNvSpPr>
                <a:spLocks noChangeArrowheads="1"/>
              </p:cNvSpPr>
              <p:nvPr/>
            </p:nvSpPr>
            <p:spPr bwMode="auto">
              <a:xfrm>
                <a:off x="2257"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5" name="Rectangle 65">
                <a:extLst>
                  <a:ext uri="{FF2B5EF4-FFF2-40B4-BE49-F238E27FC236}">
                    <a16:creationId xmlns:a16="http://schemas.microsoft.com/office/drawing/2014/main" id="{D97DD852-F165-46CE-AE23-5323BD00C985}"/>
                  </a:ext>
                </a:extLst>
              </p:cNvPr>
              <p:cNvSpPr>
                <a:spLocks noChangeArrowheads="1"/>
              </p:cNvSpPr>
              <p:nvPr/>
            </p:nvSpPr>
            <p:spPr bwMode="auto">
              <a:xfrm>
                <a:off x="2285"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6" name="Rectangle 66">
                <a:extLst>
                  <a:ext uri="{FF2B5EF4-FFF2-40B4-BE49-F238E27FC236}">
                    <a16:creationId xmlns:a16="http://schemas.microsoft.com/office/drawing/2014/main" id="{B9AA3F70-6966-4FD7-A9A5-4DFE3BFE3C5B}"/>
                  </a:ext>
                </a:extLst>
              </p:cNvPr>
              <p:cNvSpPr>
                <a:spLocks noChangeArrowheads="1"/>
              </p:cNvSpPr>
              <p:nvPr/>
            </p:nvSpPr>
            <p:spPr bwMode="auto">
              <a:xfrm>
                <a:off x="2316"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7" name="Rectangle 67">
                <a:extLst>
                  <a:ext uri="{FF2B5EF4-FFF2-40B4-BE49-F238E27FC236}">
                    <a16:creationId xmlns:a16="http://schemas.microsoft.com/office/drawing/2014/main" id="{75C00327-D439-410E-92BB-851F860E24B4}"/>
                  </a:ext>
                </a:extLst>
              </p:cNvPr>
              <p:cNvSpPr>
                <a:spLocks noChangeArrowheads="1"/>
              </p:cNvSpPr>
              <p:nvPr/>
            </p:nvSpPr>
            <p:spPr bwMode="auto">
              <a:xfrm>
                <a:off x="237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8" name="Rectangle 68">
                <a:extLst>
                  <a:ext uri="{FF2B5EF4-FFF2-40B4-BE49-F238E27FC236}">
                    <a16:creationId xmlns:a16="http://schemas.microsoft.com/office/drawing/2014/main" id="{1C67D9E1-9B4A-44C7-B721-EB2CF8356BEC}"/>
                  </a:ext>
                </a:extLst>
              </p:cNvPr>
              <p:cNvSpPr>
                <a:spLocks noChangeArrowheads="1"/>
              </p:cNvSpPr>
              <p:nvPr/>
            </p:nvSpPr>
            <p:spPr bwMode="auto">
              <a:xfrm>
                <a:off x="2431"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9" name="Rectangle 69">
                <a:extLst>
                  <a:ext uri="{FF2B5EF4-FFF2-40B4-BE49-F238E27FC236}">
                    <a16:creationId xmlns:a16="http://schemas.microsoft.com/office/drawing/2014/main" id="{C57BECA9-1FB7-4971-9579-7294247CF73B}"/>
                  </a:ext>
                </a:extLst>
              </p:cNvPr>
              <p:cNvSpPr>
                <a:spLocks noChangeArrowheads="1"/>
              </p:cNvSpPr>
              <p:nvPr/>
            </p:nvSpPr>
            <p:spPr bwMode="auto">
              <a:xfrm>
                <a:off x="255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0" name="Rectangle 70">
                <a:extLst>
                  <a:ext uri="{FF2B5EF4-FFF2-40B4-BE49-F238E27FC236}">
                    <a16:creationId xmlns:a16="http://schemas.microsoft.com/office/drawing/2014/main" id="{2F10A5F7-9717-40D3-9E04-A6A89051EF6F}"/>
                  </a:ext>
                </a:extLst>
              </p:cNvPr>
              <p:cNvSpPr>
                <a:spLocks noChangeArrowheads="1"/>
              </p:cNvSpPr>
              <p:nvPr/>
            </p:nvSpPr>
            <p:spPr bwMode="auto">
              <a:xfrm>
                <a:off x="2753"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1" name="Rectangle 71">
                <a:extLst>
                  <a:ext uri="{FF2B5EF4-FFF2-40B4-BE49-F238E27FC236}">
                    <a16:creationId xmlns:a16="http://schemas.microsoft.com/office/drawing/2014/main" id="{49A88F49-39ED-4F21-9939-FC052E13481C}"/>
                  </a:ext>
                </a:extLst>
              </p:cNvPr>
              <p:cNvSpPr>
                <a:spLocks noChangeArrowheads="1"/>
              </p:cNvSpPr>
              <p:nvPr/>
            </p:nvSpPr>
            <p:spPr bwMode="auto">
              <a:xfrm>
                <a:off x="281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2" name="Rectangle 72">
                <a:extLst>
                  <a:ext uri="{FF2B5EF4-FFF2-40B4-BE49-F238E27FC236}">
                    <a16:creationId xmlns:a16="http://schemas.microsoft.com/office/drawing/2014/main" id="{82046A34-BB0D-4A5C-9C99-D02077FB195D}"/>
                  </a:ext>
                </a:extLst>
              </p:cNvPr>
              <p:cNvSpPr>
                <a:spLocks noChangeArrowheads="1"/>
              </p:cNvSpPr>
              <p:nvPr/>
            </p:nvSpPr>
            <p:spPr bwMode="auto">
              <a:xfrm>
                <a:off x="2871"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3" name="Rectangle 73">
                <a:extLst>
                  <a:ext uri="{FF2B5EF4-FFF2-40B4-BE49-F238E27FC236}">
                    <a16:creationId xmlns:a16="http://schemas.microsoft.com/office/drawing/2014/main" id="{C9807F98-77FB-4118-B4B3-D4F1C96E04C0}"/>
                  </a:ext>
                </a:extLst>
              </p:cNvPr>
              <p:cNvSpPr>
                <a:spLocks noChangeArrowheads="1"/>
              </p:cNvSpPr>
              <p:nvPr/>
            </p:nvSpPr>
            <p:spPr bwMode="auto">
              <a:xfrm>
                <a:off x="2899"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4" name="Rectangle 74">
                <a:extLst>
                  <a:ext uri="{FF2B5EF4-FFF2-40B4-BE49-F238E27FC236}">
                    <a16:creationId xmlns:a16="http://schemas.microsoft.com/office/drawing/2014/main" id="{2C60E7E5-BC7A-428C-8B9F-282D96151A06}"/>
                  </a:ext>
                </a:extLst>
              </p:cNvPr>
              <p:cNvSpPr>
                <a:spLocks noChangeArrowheads="1"/>
              </p:cNvSpPr>
              <p:nvPr/>
            </p:nvSpPr>
            <p:spPr bwMode="auto">
              <a:xfrm>
                <a:off x="293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5" name="Rectangle 75">
                <a:extLst>
                  <a:ext uri="{FF2B5EF4-FFF2-40B4-BE49-F238E27FC236}">
                    <a16:creationId xmlns:a16="http://schemas.microsoft.com/office/drawing/2014/main" id="{C8B8E2FD-503E-4A65-BBA9-61BAC9039902}"/>
                  </a:ext>
                </a:extLst>
              </p:cNvPr>
              <p:cNvSpPr>
                <a:spLocks noChangeArrowheads="1"/>
              </p:cNvSpPr>
              <p:nvPr/>
            </p:nvSpPr>
            <p:spPr bwMode="auto">
              <a:xfrm>
                <a:off x="2989" y="84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6" name="Rectangle 76">
                <a:extLst>
                  <a:ext uri="{FF2B5EF4-FFF2-40B4-BE49-F238E27FC236}">
                    <a16:creationId xmlns:a16="http://schemas.microsoft.com/office/drawing/2014/main" id="{EDFC6035-30C1-4832-9663-49456D686354}"/>
                  </a:ext>
                </a:extLst>
              </p:cNvPr>
              <p:cNvSpPr>
                <a:spLocks noChangeArrowheads="1"/>
              </p:cNvSpPr>
              <p:nvPr/>
            </p:nvSpPr>
            <p:spPr bwMode="auto">
              <a:xfrm>
                <a:off x="3046"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7" name="Rectangle 77">
                <a:extLst>
                  <a:ext uri="{FF2B5EF4-FFF2-40B4-BE49-F238E27FC236}">
                    <a16:creationId xmlns:a16="http://schemas.microsoft.com/office/drawing/2014/main" id="{AAAC4A92-66D3-4D89-97B7-5172D497D12A}"/>
                  </a:ext>
                </a:extLst>
              </p:cNvPr>
              <p:cNvSpPr>
                <a:spLocks noChangeArrowheads="1"/>
              </p:cNvSpPr>
              <p:nvPr/>
            </p:nvSpPr>
            <p:spPr bwMode="auto">
              <a:xfrm>
                <a:off x="3133"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8" name="Rectangle 78">
                <a:extLst>
                  <a:ext uri="{FF2B5EF4-FFF2-40B4-BE49-F238E27FC236}">
                    <a16:creationId xmlns:a16="http://schemas.microsoft.com/office/drawing/2014/main" id="{4FCE33F5-0EB4-4394-ADAF-E00EA08A35D0}"/>
                  </a:ext>
                </a:extLst>
              </p:cNvPr>
              <p:cNvSpPr>
                <a:spLocks noChangeArrowheads="1"/>
              </p:cNvSpPr>
              <p:nvPr/>
            </p:nvSpPr>
            <p:spPr bwMode="auto">
              <a:xfrm>
                <a:off x="3192"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9" name="Rectangle 79">
                <a:extLst>
                  <a:ext uri="{FF2B5EF4-FFF2-40B4-BE49-F238E27FC236}">
                    <a16:creationId xmlns:a16="http://schemas.microsoft.com/office/drawing/2014/main" id="{7A531FC3-5CAE-4182-881F-99F435AB637D}"/>
                  </a:ext>
                </a:extLst>
              </p:cNvPr>
              <p:cNvSpPr>
                <a:spLocks noChangeArrowheads="1"/>
              </p:cNvSpPr>
              <p:nvPr/>
            </p:nvSpPr>
            <p:spPr bwMode="auto">
              <a:xfrm>
                <a:off x="3251" y="84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0" name="Rectangle 80">
                <a:extLst>
                  <a:ext uri="{FF2B5EF4-FFF2-40B4-BE49-F238E27FC236}">
                    <a16:creationId xmlns:a16="http://schemas.microsoft.com/office/drawing/2014/main" id="{61AEDA9E-421B-4450-9901-C3E0212EBD08}"/>
                  </a:ext>
                </a:extLst>
              </p:cNvPr>
              <p:cNvSpPr>
                <a:spLocks noChangeArrowheads="1"/>
              </p:cNvSpPr>
              <p:nvPr/>
            </p:nvSpPr>
            <p:spPr bwMode="auto">
              <a:xfrm>
                <a:off x="3280" y="84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1" name="Rectangle 81">
                <a:extLst>
                  <a:ext uri="{FF2B5EF4-FFF2-40B4-BE49-F238E27FC236}">
                    <a16:creationId xmlns:a16="http://schemas.microsoft.com/office/drawing/2014/main" id="{FA234762-1FD7-4935-A616-1481FCFF8E16}"/>
                  </a:ext>
                </a:extLst>
              </p:cNvPr>
              <p:cNvSpPr>
                <a:spLocks noChangeArrowheads="1"/>
              </p:cNvSpPr>
              <p:nvPr/>
            </p:nvSpPr>
            <p:spPr bwMode="auto">
              <a:xfrm>
                <a:off x="3311"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2" name="Rectangle 82">
                <a:extLst>
                  <a:ext uri="{FF2B5EF4-FFF2-40B4-BE49-F238E27FC236}">
                    <a16:creationId xmlns:a16="http://schemas.microsoft.com/office/drawing/2014/main" id="{27051835-95AB-4DEF-8CCD-826CB03E4E97}"/>
                  </a:ext>
                </a:extLst>
              </p:cNvPr>
              <p:cNvSpPr>
                <a:spLocks noChangeArrowheads="1"/>
              </p:cNvSpPr>
              <p:nvPr/>
            </p:nvSpPr>
            <p:spPr bwMode="auto">
              <a:xfrm>
                <a:off x="3370" y="84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3" name="Rectangle 83">
                <a:extLst>
                  <a:ext uri="{FF2B5EF4-FFF2-40B4-BE49-F238E27FC236}">
                    <a16:creationId xmlns:a16="http://schemas.microsoft.com/office/drawing/2014/main" id="{77F4BAA1-F7A6-4898-B7C2-810A589958B0}"/>
                  </a:ext>
                </a:extLst>
              </p:cNvPr>
              <p:cNvSpPr>
                <a:spLocks noChangeArrowheads="1"/>
              </p:cNvSpPr>
              <p:nvPr/>
            </p:nvSpPr>
            <p:spPr bwMode="auto">
              <a:xfrm>
                <a:off x="2198"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4" name="Rectangle 84">
                <a:extLst>
                  <a:ext uri="{FF2B5EF4-FFF2-40B4-BE49-F238E27FC236}">
                    <a16:creationId xmlns:a16="http://schemas.microsoft.com/office/drawing/2014/main" id="{051D091E-6C18-4388-9E96-C0F20733BBE2}"/>
                  </a:ext>
                </a:extLst>
              </p:cNvPr>
              <p:cNvSpPr>
                <a:spLocks noChangeArrowheads="1"/>
              </p:cNvSpPr>
              <p:nvPr/>
            </p:nvSpPr>
            <p:spPr bwMode="auto">
              <a:xfrm>
                <a:off x="225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5" name="Rectangle 85">
                <a:extLst>
                  <a:ext uri="{FF2B5EF4-FFF2-40B4-BE49-F238E27FC236}">
                    <a16:creationId xmlns:a16="http://schemas.microsoft.com/office/drawing/2014/main" id="{C9E0FA01-13F1-4E82-BF27-0DE337F84DAD}"/>
                  </a:ext>
                </a:extLst>
              </p:cNvPr>
              <p:cNvSpPr>
                <a:spLocks noChangeArrowheads="1"/>
              </p:cNvSpPr>
              <p:nvPr/>
            </p:nvSpPr>
            <p:spPr bwMode="auto">
              <a:xfrm>
                <a:off x="2285"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6" name="Rectangle 86">
                <a:extLst>
                  <a:ext uri="{FF2B5EF4-FFF2-40B4-BE49-F238E27FC236}">
                    <a16:creationId xmlns:a16="http://schemas.microsoft.com/office/drawing/2014/main" id="{0DCB5C8F-1F83-4B27-9CD7-578F4F615128}"/>
                  </a:ext>
                </a:extLst>
              </p:cNvPr>
              <p:cNvSpPr>
                <a:spLocks noChangeArrowheads="1"/>
              </p:cNvSpPr>
              <p:nvPr/>
            </p:nvSpPr>
            <p:spPr bwMode="auto">
              <a:xfrm>
                <a:off x="2316"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7" name="Rectangle 87">
                <a:extLst>
                  <a:ext uri="{FF2B5EF4-FFF2-40B4-BE49-F238E27FC236}">
                    <a16:creationId xmlns:a16="http://schemas.microsoft.com/office/drawing/2014/main" id="{70A2AAF2-013D-4EE2-8880-2DACAD2384FC}"/>
                  </a:ext>
                </a:extLst>
              </p:cNvPr>
              <p:cNvSpPr>
                <a:spLocks noChangeArrowheads="1"/>
              </p:cNvSpPr>
              <p:nvPr/>
            </p:nvSpPr>
            <p:spPr bwMode="auto">
              <a:xfrm>
                <a:off x="237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8" name="Rectangle 88">
                <a:extLst>
                  <a:ext uri="{FF2B5EF4-FFF2-40B4-BE49-F238E27FC236}">
                    <a16:creationId xmlns:a16="http://schemas.microsoft.com/office/drawing/2014/main" id="{08DE33F0-67DE-4446-8697-C42BCED3ACE9}"/>
                  </a:ext>
                </a:extLst>
              </p:cNvPr>
              <p:cNvSpPr>
                <a:spLocks noChangeArrowheads="1"/>
              </p:cNvSpPr>
              <p:nvPr/>
            </p:nvSpPr>
            <p:spPr bwMode="auto">
              <a:xfrm>
                <a:off x="2431"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9" name="Rectangle 89">
                <a:extLst>
                  <a:ext uri="{FF2B5EF4-FFF2-40B4-BE49-F238E27FC236}">
                    <a16:creationId xmlns:a16="http://schemas.microsoft.com/office/drawing/2014/main" id="{66A13879-E9F0-47C9-B104-CF77F7C74BE5}"/>
                  </a:ext>
                </a:extLst>
              </p:cNvPr>
              <p:cNvSpPr>
                <a:spLocks noChangeArrowheads="1"/>
              </p:cNvSpPr>
              <p:nvPr/>
            </p:nvSpPr>
            <p:spPr bwMode="auto">
              <a:xfrm>
                <a:off x="255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0" name="Rectangle 90">
                <a:extLst>
                  <a:ext uri="{FF2B5EF4-FFF2-40B4-BE49-F238E27FC236}">
                    <a16:creationId xmlns:a16="http://schemas.microsoft.com/office/drawing/2014/main" id="{60013F17-B966-4549-90C7-116D506ED20F}"/>
                  </a:ext>
                </a:extLst>
              </p:cNvPr>
              <p:cNvSpPr>
                <a:spLocks noChangeArrowheads="1"/>
              </p:cNvSpPr>
              <p:nvPr/>
            </p:nvSpPr>
            <p:spPr bwMode="auto">
              <a:xfrm>
                <a:off x="263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1" name="Rectangle 91">
                <a:extLst>
                  <a:ext uri="{FF2B5EF4-FFF2-40B4-BE49-F238E27FC236}">
                    <a16:creationId xmlns:a16="http://schemas.microsoft.com/office/drawing/2014/main" id="{F03D219D-A8E8-41B1-87CA-52CCE03658FE}"/>
                  </a:ext>
                </a:extLst>
              </p:cNvPr>
              <p:cNvSpPr>
                <a:spLocks noChangeArrowheads="1"/>
              </p:cNvSpPr>
              <p:nvPr/>
            </p:nvSpPr>
            <p:spPr bwMode="auto">
              <a:xfrm>
                <a:off x="2725"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2" name="Rectangle 92">
                <a:extLst>
                  <a:ext uri="{FF2B5EF4-FFF2-40B4-BE49-F238E27FC236}">
                    <a16:creationId xmlns:a16="http://schemas.microsoft.com/office/drawing/2014/main" id="{6ED198FE-2866-4F15-BE97-4F308E4587C7}"/>
                  </a:ext>
                </a:extLst>
              </p:cNvPr>
              <p:cNvSpPr>
                <a:spLocks noChangeArrowheads="1"/>
              </p:cNvSpPr>
              <p:nvPr/>
            </p:nvSpPr>
            <p:spPr bwMode="auto">
              <a:xfrm>
                <a:off x="281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3" name="Rectangle 93">
                <a:extLst>
                  <a:ext uri="{FF2B5EF4-FFF2-40B4-BE49-F238E27FC236}">
                    <a16:creationId xmlns:a16="http://schemas.microsoft.com/office/drawing/2014/main" id="{39AD8B8A-D114-4B4A-8616-FB45209D7EBA}"/>
                  </a:ext>
                </a:extLst>
              </p:cNvPr>
              <p:cNvSpPr>
                <a:spLocks noChangeArrowheads="1"/>
              </p:cNvSpPr>
              <p:nvPr/>
            </p:nvSpPr>
            <p:spPr bwMode="auto">
              <a:xfrm>
                <a:off x="2843"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4" name="Rectangle 94">
                <a:extLst>
                  <a:ext uri="{FF2B5EF4-FFF2-40B4-BE49-F238E27FC236}">
                    <a16:creationId xmlns:a16="http://schemas.microsoft.com/office/drawing/2014/main" id="{E0170257-23A0-45B2-B13E-273FA68F3B6B}"/>
                  </a:ext>
                </a:extLst>
              </p:cNvPr>
              <p:cNvSpPr>
                <a:spLocks noChangeArrowheads="1"/>
              </p:cNvSpPr>
              <p:nvPr/>
            </p:nvSpPr>
            <p:spPr bwMode="auto">
              <a:xfrm>
                <a:off x="2871"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5" name="Rectangle 95">
                <a:extLst>
                  <a:ext uri="{FF2B5EF4-FFF2-40B4-BE49-F238E27FC236}">
                    <a16:creationId xmlns:a16="http://schemas.microsoft.com/office/drawing/2014/main" id="{738A476E-4E1E-4428-BC3E-74B2666D88D5}"/>
                  </a:ext>
                </a:extLst>
              </p:cNvPr>
              <p:cNvSpPr>
                <a:spLocks noChangeArrowheads="1"/>
              </p:cNvSpPr>
              <p:nvPr/>
            </p:nvSpPr>
            <p:spPr bwMode="auto">
              <a:xfrm>
                <a:off x="293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6" name="Rectangle 96">
                <a:extLst>
                  <a:ext uri="{FF2B5EF4-FFF2-40B4-BE49-F238E27FC236}">
                    <a16:creationId xmlns:a16="http://schemas.microsoft.com/office/drawing/2014/main" id="{E71A803D-E687-4926-9B0F-F0DC755348D6}"/>
                  </a:ext>
                </a:extLst>
              </p:cNvPr>
              <p:cNvSpPr>
                <a:spLocks noChangeArrowheads="1"/>
              </p:cNvSpPr>
              <p:nvPr/>
            </p:nvSpPr>
            <p:spPr bwMode="auto">
              <a:xfrm>
                <a:off x="2958"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7" name="Rectangle 97">
                <a:extLst>
                  <a:ext uri="{FF2B5EF4-FFF2-40B4-BE49-F238E27FC236}">
                    <a16:creationId xmlns:a16="http://schemas.microsoft.com/office/drawing/2014/main" id="{6BA34433-6D00-43A6-9694-A3D3584A3D11}"/>
                  </a:ext>
                </a:extLst>
              </p:cNvPr>
              <p:cNvSpPr>
                <a:spLocks noChangeArrowheads="1"/>
              </p:cNvSpPr>
              <p:nvPr/>
            </p:nvSpPr>
            <p:spPr bwMode="auto">
              <a:xfrm>
                <a:off x="3018"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8" name="Rectangle 98">
                <a:extLst>
                  <a:ext uri="{FF2B5EF4-FFF2-40B4-BE49-F238E27FC236}">
                    <a16:creationId xmlns:a16="http://schemas.microsoft.com/office/drawing/2014/main" id="{99BDF87E-D43D-4C0E-A9AF-FA68662F1860}"/>
                  </a:ext>
                </a:extLst>
              </p:cNvPr>
              <p:cNvSpPr>
                <a:spLocks noChangeArrowheads="1"/>
              </p:cNvSpPr>
              <p:nvPr/>
            </p:nvSpPr>
            <p:spPr bwMode="auto">
              <a:xfrm>
                <a:off x="3077"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9" name="Rectangle 99">
                <a:extLst>
                  <a:ext uri="{FF2B5EF4-FFF2-40B4-BE49-F238E27FC236}">
                    <a16:creationId xmlns:a16="http://schemas.microsoft.com/office/drawing/2014/main" id="{47B631D0-A4BC-43E8-895A-DC72C004212C}"/>
                  </a:ext>
                </a:extLst>
              </p:cNvPr>
              <p:cNvSpPr>
                <a:spLocks noChangeArrowheads="1"/>
              </p:cNvSpPr>
              <p:nvPr/>
            </p:nvSpPr>
            <p:spPr bwMode="auto">
              <a:xfrm>
                <a:off x="3105"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0" name="Rectangle 100">
                <a:extLst>
                  <a:ext uri="{FF2B5EF4-FFF2-40B4-BE49-F238E27FC236}">
                    <a16:creationId xmlns:a16="http://schemas.microsoft.com/office/drawing/2014/main" id="{FF2F6ED9-AD3E-4574-B301-1C98CF7F026D}"/>
                  </a:ext>
                </a:extLst>
              </p:cNvPr>
              <p:cNvSpPr>
                <a:spLocks noChangeArrowheads="1"/>
              </p:cNvSpPr>
              <p:nvPr/>
            </p:nvSpPr>
            <p:spPr bwMode="auto">
              <a:xfrm>
                <a:off x="3133"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1" name="Rectangle 101">
                <a:extLst>
                  <a:ext uri="{FF2B5EF4-FFF2-40B4-BE49-F238E27FC236}">
                    <a16:creationId xmlns:a16="http://schemas.microsoft.com/office/drawing/2014/main" id="{E9626502-C2C4-4E5A-A848-3C4C31348710}"/>
                  </a:ext>
                </a:extLst>
              </p:cNvPr>
              <p:cNvSpPr>
                <a:spLocks noChangeArrowheads="1"/>
              </p:cNvSpPr>
              <p:nvPr/>
            </p:nvSpPr>
            <p:spPr bwMode="auto">
              <a:xfrm>
                <a:off x="3192"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2" name="Rectangle 102">
                <a:extLst>
                  <a:ext uri="{FF2B5EF4-FFF2-40B4-BE49-F238E27FC236}">
                    <a16:creationId xmlns:a16="http://schemas.microsoft.com/office/drawing/2014/main" id="{051EC1C7-C5B0-4101-9BF1-11D7A0FBA0E7}"/>
                  </a:ext>
                </a:extLst>
              </p:cNvPr>
              <p:cNvSpPr>
                <a:spLocks noChangeArrowheads="1"/>
              </p:cNvSpPr>
              <p:nvPr/>
            </p:nvSpPr>
            <p:spPr bwMode="auto">
              <a:xfrm>
                <a:off x="3251" y="87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3" name="Rectangle 103">
                <a:extLst>
                  <a:ext uri="{FF2B5EF4-FFF2-40B4-BE49-F238E27FC236}">
                    <a16:creationId xmlns:a16="http://schemas.microsoft.com/office/drawing/2014/main" id="{DE5A524A-F4D2-4171-A5D4-0B67E8E1002E}"/>
                  </a:ext>
                </a:extLst>
              </p:cNvPr>
              <p:cNvSpPr>
                <a:spLocks noChangeArrowheads="1"/>
              </p:cNvSpPr>
              <p:nvPr/>
            </p:nvSpPr>
            <p:spPr bwMode="auto">
              <a:xfrm>
                <a:off x="3280" y="87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4" name="Rectangle 104">
                <a:extLst>
                  <a:ext uri="{FF2B5EF4-FFF2-40B4-BE49-F238E27FC236}">
                    <a16:creationId xmlns:a16="http://schemas.microsoft.com/office/drawing/2014/main" id="{DAF4478F-0610-4F3B-B8BC-D90B4D1F7B1A}"/>
                  </a:ext>
                </a:extLst>
              </p:cNvPr>
              <p:cNvSpPr>
                <a:spLocks noChangeArrowheads="1"/>
              </p:cNvSpPr>
              <p:nvPr/>
            </p:nvSpPr>
            <p:spPr bwMode="auto">
              <a:xfrm>
                <a:off x="3311"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5" name="Rectangle 105">
                <a:extLst>
                  <a:ext uri="{FF2B5EF4-FFF2-40B4-BE49-F238E27FC236}">
                    <a16:creationId xmlns:a16="http://schemas.microsoft.com/office/drawing/2014/main" id="{94A6AAA3-409F-4A9C-A6CA-10889FEFFC4B}"/>
                  </a:ext>
                </a:extLst>
              </p:cNvPr>
              <p:cNvSpPr>
                <a:spLocks noChangeArrowheads="1"/>
              </p:cNvSpPr>
              <p:nvPr/>
            </p:nvSpPr>
            <p:spPr bwMode="auto">
              <a:xfrm>
                <a:off x="3370" y="87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6" name="Rectangle 106">
                <a:extLst>
                  <a:ext uri="{FF2B5EF4-FFF2-40B4-BE49-F238E27FC236}">
                    <a16:creationId xmlns:a16="http://schemas.microsoft.com/office/drawing/2014/main" id="{61C50A46-DD90-49C0-A964-89E75B02276A}"/>
                  </a:ext>
                </a:extLst>
              </p:cNvPr>
              <p:cNvSpPr>
                <a:spLocks noChangeArrowheads="1"/>
              </p:cNvSpPr>
              <p:nvPr/>
            </p:nvSpPr>
            <p:spPr bwMode="auto">
              <a:xfrm>
                <a:off x="219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7" name="Rectangle 107">
                <a:extLst>
                  <a:ext uri="{FF2B5EF4-FFF2-40B4-BE49-F238E27FC236}">
                    <a16:creationId xmlns:a16="http://schemas.microsoft.com/office/drawing/2014/main" id="{C3C73DAF-8EA7-440B-8A4D-6D235E6A7340}"/>
                  </a:ext>
                </a:extLst>
              </p:cNvPr>
              <p:cNvSpPr>
                <a:spLocks noChangeArrowheads="1"/>
              </p:cNvSpPr>
              <p:nvPr/>
            </p:nvSpPr>
            <p:spPr bwMode="auto">
              <a:xfrm>
                <a:off x="2372"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8" name="Rectangle 108">
                <a:extLst>
                  <a:ext uri="{FF2B5EF4-FFF2-40B4-BE49-F238E27FC236}">
                    <a16:creationId xmlns:a16="http://schemas.microsoft.com/office/drawing/2014/main" id="{D1AE942B-331D-49F3-8858-BF8CC1E765ED}"/>
                  </a:ext>
                </a:extLst>
              </p:cNvPr>
              <p:cNvSpPr>
                <a:spLocks noChangeArrowheads="1"/>
              </p:cNvSpPr>
              <p:nvPr/>
            </p:nvSpPr>
            <p:spPr bwMode="auto">
              <a:xfrm>
                <a:off x="2491"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9" name="Rectangle 109">
                <a:extLst>
                  <a:ext uri="{FF2B5EF4-FFF2-40B4-BE49-F238E27FC236}">
                    <a16:creationId xmlns:a16="http://schemas.microsoft.com/office/drawing/2014/main" id="{D4083FE2-9FDF-4DCB-B66B-63501737AA9B}"/>
                  </a:ext>
                </a:extLst>
              </p:cNvPr>
              <p:cNvSpPr>
                <a:spLocks noChangeArrowheads="1"/>
              </p:cNvSpPr>
              <p:nvPr/>
            </p:nvSpPr>
            <p:spPr bwMode="auto">
              <a:xfrm>
                <a:off x="255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0" name="Rectangle 110">
                <a:extLst>
                  <a:ext uri="{FF2B5EF4-FFF2-40B4-BE49-F238E27FC236}">
                    <a16:creationId xmlns:a16="http://schemas.microsoft.com/office/drawing/2014/main" id="{AF8C0B1E-C31E-4703-91CD-06A4996CDB41}"/>
                  </a:ext>
                </a:extLst>
              </p:cNvPr>
              <p:cNvSpPr>
                <a:spLocks noChangeArrowheads="1"/>
              </p:cNvSpPr>
              <p:nvPr/>
            </p:nvSpPr>
            <p:spPr bwMode="auto">
              <a:xfrm>
                <a:off x="257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1" name="Rectangle 111">
                <a:extLst>
                  <a:ext uri="{FF2B5EF4-FFF2-40B4-BE49-F238E27FC236}">
                    <a16:creationId xmlns:a16="http://schemas.microsoft.com/office/drawing/2014/main" id="{8BA38991-E259-4E66-9FEC-88CBD1877989}"/>
                  </a:ext>
                </a:extLst>
              </p:cNvPr>
              <p:cNvSpPr>
                <a:spLocks noChangeArrowheads="1"/>
              </p:cNvSpPr>
              <p:nvPr/>
            </p:nvSpPr>
            <p:spPr bwMode="auto">
              <a:xfrm>
                <a:off x="2606"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2" name="Rectangle 112">
                <a:extLst>
                  <a:ext uri="{FF2B5EF4-FFF2-40B4-BE49-F238E27FC236}">
                    <a16:creationId xmlns:a16="http://schemas.microsoft.com/office/drawing/2014/main" id="{AF306311-A8BB-4342-B596-BA0A6C81F669}"/>
                  </a:ext>
                </a:extLst>
              </p:cNvPr>
              <p:cNvSpPr>
                <a:spLocks noChangeArrowheads="1"/>
              </p:cNvSpPr>
              <p:nvPr/>
            </p:nvSpPr>
            <p:spPr bwMode="auto">
              <a:xfrm>
                <a:off x="2665"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3" name="Rectangle 113">
                <a:extLst>
                  <a:ext uri="{FF2B5EF4-FFF2-40B4-BE49-F238E27FC236}">
                    <a16:creationId xmlns:a16="http://schemas.microsoft.com/office/drawing/2014/main" id="{C18F3321-CA4A-45D6-A5C4-07A60465BB09}"/>
                  </a:ext>
                </a:extLst>
              </p:cNvPr>
              <p:cNvSpPr>
                <a:spLocks noChangeArrowheads="1"/>
              </p:cNvSpPr>
              <p:nvPr/>
            </p:nvSpPr>
            <p:spPr bwMode="auto">
              <a:xfrm>
                <a:off x="2784"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4" name="Rectangle 114">
                <a:extLst>
                  <a:ext uri="{FF2B5EF4-FFF2-40B4-BE49-F238E27FC236}">
                    <a16:creationId xmlns:a16="http://schemas.microsoft.com/office/drawing/2014/main" id="{DD44468B-AC15-4C31-A8D1-6BDD75D2F24A}"/>
                  </a:ext>
                </a:extLst>
              </p:cNvPr>
              <p:cNvSpPr>
                <a:spLocks noChangeArrowheads="1"/>
              </p:cNvSpPr>
              <p:nvPr/>
            </p:nvSpPr>
            <p:spPr bwMode="auto">
              <a:xfrm>
                <a:off x="293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5" name="Rectangle 115">
                <a:extLst>
                  <a:ext uri="{FF2B5EF4-FFF2-40B4-BE49-F238E27FC236}">
                    <a16:creationId xmlns:a16="http://schemas.microsoft.com/office/drawing/2014/main" id="{A34B3DBB-C49B-405E-906C-49108B966B64}"/>
                  </a:ext>
                </a:extLst>
              </p:cNvPr>
              <p:cNvSpPr>
                <a:spLocks noChangeArrowheads="1"/>
              </p:cNvSpPr>
              <p:nvPr/>
            </p:nvSpPr>
            <p:spPr bwMode="auto">
              <a:xfrm>
                <a:off x="2958"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6" name="Rectangle 116">
                <a:extLst>
                  <a:ext uri="{FF2B5EF4-FFF2-40B4-BE49-F238E27FC236}">
                    <a16:creationId xmlns:a16="http://schemas.microsoft.com/office/drawing/2014/main" id="{3977CA87-E2A0-4C50-B9D2-29D30D3B35C4}"/>
                  </a:ext>
                </a:extLst>
              </p:cNvPr>
              <p:cNvSpPr>
                <a:spLocks noChangeArrowheads="1"/>
              </p:cNvSpPr>
              <p:nvPr/>
            </p:nvSpPr>
            <p:spPr bwMode="auto">
              <a:xfrm>
                <a:off x="3018"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7" name="Rectangle 117">
                <a:extLst>
                  <a:ext uri="{FF2B5EF4-FFF2-40B4-BE49-F238E27FC236}">
                    <a16:creationId xmlns:a16="http://schemas.microsoft.com/office/drawing/2014/main" id="{AD56A3A4-859D-4E96-A01D-51212A270581}"/>
                  </a:ext>
                </a:extLst>
              </p:cNvPr>
              <p:cNvSpPr>
                <a:spLocks noChangeArrowheads="1"/>
              </p:cNvSpPr>
              <p:nvPr/>
            </p:nvSpPr>
            <p:spPr bwMode="auto">
              <a:xfrm>
                <a:off x="3046"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8" name="Rectangle 118">
                <a:extLst>
                  <a:ext uri="{FF2B5EF4-FFF2-40B4-BE49-F238E27FC236}">
                    <a16:creationId xmlns:a16="http://schemas.microsoft.com/office/drawing/2014/main" id="{1E430A08-45AF-4812-B91C-38C9A936C3D1}"/>
                  </a:ext>
                </a:extLst>
              </p:cNvPr>
              <p:cNvSpPr>
                <a:spLocks noChangeArrowheads="1"/>
              </p:cNvSpPr>
              <p:nvPr/>
            </p:nvSpPr>
            <p:spPr bwMode="auto">
              <a:xfrm>
                <a:off x="3077"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9" name="Rectangle 119">
                <a:extLst>
                  <a:ext uri="{FF2B5EF4-FFF2-40B4-BE49-F238E27FC236}">
                    <a16:creationId xmlns:a16="http://schemas.microsoft.com/office/drawing/2014/main" id="{FFB8AFFE-9720-46B2-BD16-28A64037DF50}"/>
                  </a:ext>
                </a:extLst>
              </p:cNvPr>
              <p:cNvSpPr>
                <a:spLocks noChangeArrowheads="1"/>
              </p:cNvSpPr>
              <p:nvPr/>
            </p:nvSpPr>
            <p:spPr bwMode="auto">
              <a:xfrm>
                <a:off x="3133"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0" name="Rectangle 120">
                <a:extLst>
                  <a:ext uri="{FF2B5EF4-FFF2-40B4-BE49-F238E27FC236}">
                    <a16:creationId xmlns:a16="http://schemas.microsoft.com/office/drawing/2014/main" id="{CE2173C9-A7F3-45C6-B428-35E5A23DBAA4}"/>
                  </a:ext>
                </a:extLst>
              </p:cNvPr>
              <p:cNvSpPr>
                <a:spLocks noChangeArrowheads="1"/>
              </p:cNvSpPr>
              <p:nvPr/>
            </p:nvSpPr>
            <p:spPr bwMode="auto">
              <a:xfrm>
                <a:off x="3192" y="90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1" name="Rectangle 121">
                <a:extLst>
                  <a:ext uri="{FF2B5EF4-FFF2-40B4-BE49-F238E27FC236}">
                    <a16:creationId xmlns:a16="http://schemas.microsoft.com/office/drawing/2014/main" id="{4F009163-6AAD-4DF5-BE76-D35100A35D8E}"/>
                  </a:ext>
                </a:extLst>
              </p:cNvPr>
              <p:cNvSpPr>
                <a:spLocks noChangeArrowheads="1"/>
              </p:cNvSpPr>
              <p:nvPr/>
            </p:nvSpPr>
            <p:spPr bwMode="auto">
              <a:xfrm>
                <a:off x="3370" y="90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2" name="Rectangle 122">
                <a:extLst>
                  <a:ext uri="{FF2B5EF4-FFF2-40B4-BE49-F238E27FC236}">
                    <a16:creationId xmlns:a16="http://schemas.microsoft.com/office/drawing/2014/main" id="{049BA0E3-42E5-4E38-977E-86B43B658A3B}"/>
                  </a:ext>
                </a:extLst>
              </p:cNvPr>
              <p:cNvSpPr>
                <a:spLocks noChangeArrowheads="1"/>
              </p:cNvSpPr>
              <p:nvPr/>
            </p:nvSpPr>
            <p:spPr bwMode="auto">
              <a:xfrm>
                <a:off x="2198"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3" name="Rectangle 123">
                <a:extLst>
                  <a:ext uri="{FF2B5EF4-FFF2-40B4-BE49-F238E27FC236}">
                    <a16:creationId xmlns:a16="http://schemas.microsoft.com/office/drawing/2014/main" id="{5F3E9670-A6B6-4909-93B8-FD06A4C4D8ED}"/>
                  </a:ext>
                </a:extLst>
              </p:cNvPr>
              <p:cNvSpPr>
                <a:spLocks noChangeArrowheads="1"/>
              </p:cNvSpPr>
              <p:nvPr/>
            </p:nvSpPr>
            <p:spPr bwMode="auto">
              <a:xfrm>
                <a:off x="2226"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4" name="Rectangle 124">
                <a:extLst>
                  <a:ext uri="{FF2B5EF4-FFF2-40B4-BE49-F238E27FC236}">
                    <a16:creationId xmlns:a16="http://schemas.microsoft.com/office/drawing/2014/main" id="{5FD500E1-D3AE-407C-B8A1-AA23631312D3}"/>
                  </a:ext>
                </a:extLst>
              </p:cNvPr>
              <p:cNvSpPr>
                <a:spLocks noChangeArrowheads="1"/>
              </p:cNvSpPr>
              <p:nvPr/>
            </p:nvSpPr>
            <p:spPr bwMode="auto">
              <a:xfrm>
                <a:off x="2257"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5" name="Rectangle 125">
                <a:extLst>
                  <a:ext uri="{FF2B5EF4-FFF2-40B4-BE49-F238E27FC236}">
                    <a16:creationId xmlns:a16="http://schemas.microsoft.com/office/drawing/2014/main" id="{6BF4BA91-F7AC-464F-A36C-993E213628AB}"/>
                  </a:ext>
                </a:extLst>
              </p:cNvPr>
              <p:cNvSpPr>
                <a:spLocks noChangeArrowheads="1"/>
              </p:cNvSpPr>
              <p:nvPr/>
            </p:nvSpPr>
            <p:spPr bwMode="auto">
              <a:xfrm>
                <a:off x="2285"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6" name="Rectangle 126">
                <a:extLst>
                  <a:ext uri="{FF2B5EF4-FFF2-40B4-BE49-F238E27FC236}">
                    <a16:creationId xmlns:a16="http://schemas.microsoft.com/office/drawing/2014/main" id="{20F6F036-5D63-41B4-A1FD-AF4467F7FEC9}"/>
                  </a:ext>
                </a:extLst>
              </p:cNvPr>
              <p:cNvSpPr>
                <a:spLocks noChangeArrowheads="1"/>
              </p:cNvSpPr>
              <p:nvPr/>
            </p:nvSpPr>
            <p:spPr bwMode="auto">
              <a:xfrm>
                <a:off x="2316"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7" name="Rectangle 127">
                <a:extLst>
                  <a:ext uri="{FF2B5EF4-FFF2-40B4-BE49-F238E27FC236}">
                    <a16:creationId xmlns:a16="http://schemas.microsoft.com/office/drawing/2014/main" id="{0177A1D3-BAE5-44A1-AEA5-B7255674F142}"/>
                  </a:ext>
                </a:extLst>
              </p:cNvPr>
              <p:cNvSpPr>
                <a:spLocks noChangeArrowheads="1"/>
              </p:cNvSpPr>
              <p:nvPr/>
            </p:nvSpPr>
            <p:spPr bwMode="auto">
              <a:xfrm>
                <a:off x="2344"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8" name="Rectangle 128">
                <a:extLst>
                  <a:ext uri="{FF2B5EF4-FFF2-40B4-BE49-F238E27FC236}">
                    <a16:creationId xmlns:a16="http://schemas.microsoft.com/office/drawing/2014/main" id="{9B696BA6-F3E3-4C1C-A91B-72EF697219F5}"/>
                  </a:ext>
                </a:extLst>
              </p:cNvPr>
              <p:cNvSpPr>
                <a:spLocks noChangeArrowheads="1"/>
              </p:cNvSpPr>
              <p:nvPr/>
            </p:nvSpPr>
            <p:spPr bwMode="auto">
              <a:xfrm>
                <a:off x="2372"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9" name="Rectangle 129">
                <a:extLst>
                  <a:ext uri="{FF2B5EF4-FFF2-40B4-BE49-F238E27FC236}">
                    <a16:creationId xmlns:a16="http://schemas.microsoft.com/office/drawing/2014/main" id="{2DC4E8EA-D1C5-49E0-8432-33E692452873}"/>
                  </a:ext>
                </a:extLst>
              </p:cNvPr>
              <p:cNvSpPr>
                <a:spLocks noChangeArrowheads="1"/>
              </p:cNvSpPr>
              <p:nvPr/>
            </p:nvSpPr>
            <p:spPr bwMode="auto">
              <a:xfrm>
                <a:off x="2431"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0" name="Rectangle 130">
                <a:extLst>
                  <a:ext uri="{FF2B5EF4-FFF2-40B4-BE49-F238E27FC236}">
                    <a16:creationId xmlns:a16="http://schemas.microsoft.com/office/drawing/2014/main" id="{97DA9994-67CA-448F-94CA-61D389846A82}"/>
                  </a:ext>
                </a:extLst>
              </p:cNvPr>
              <p:cNvSpPr>
                <a:spLocks noChangeArrowheads="1"/>
              </p:cNvSpPr>
              <p:nvPr/>
            </p:nvSpPr>
            <p:spPr bwMode="auto">
              <a:xfrm>
                <a:off x="2491"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1" name="Rectangle 131">
                <a:extLst>
                  <a:ext uri="{FF2B5EF4-FFF2-40B4-BE49-F238E27FC236}">
                    <a16:creationId xmlns:a16="http://schemas.microsoft.com/office/drawing/2014/main" id="{DD36EF31-51D1-4A0E-B4E4-71F8B74F5C47}"/>
                  </a:ext>
                </a:extLst>
              </p:cNvPr>
              <p:cNvSpPr>
                <a:spLocks noChangeArrowheads="1"/>
              </p:cNvSpPr>
              <p:nvPr/>
            </p:nvSpPr>
            <p:spPr bwMode="auto">
              <a:xfrm>
                <a:off x="2550"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2" name="Rectangle 132">
                <a:extLst>
                  <a:ext uri="{FF2B5EF4-FFF2-40B4-BE49-F238E27FC236}">
                    <a16:creationId xmlns:a16="http://schemas.microsoft.com/office/drawing/2014/main" id="{9C75A8FA-0A54-4087-880A-B08033038401}"/>
                  </a:ext>
                </a:extLst>
              </p:cNvPr>
              <p:cNvSpPr>
                <a:spLocks noChangeArrowheads="1"/>
              </p:cNvSpPr>
              <p:nvPr/>
            </p:nvSpPr>
            <p:spPr bwMode="auto">
              <a:xfrm>
                <a:off x="2606"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3" name="Rectangle 133">
                <a:extLst>
                  <a:ext uri="{FF2B5EF4-FFF2-40B4-BE49-F238E27FC236}">
                    <a16:creationId xmlns:a16="http://schemas.microsoft.com/office/drawing/2014/main" id="{87A01E2F-6E05-4997-A662-4C6BB0EFE4D5}"/>
                  </a:ext>
                </a:extLst>
              </p:cNvPr>
              <p:cNvSpPr>
                <a:spLocks noChangeArrowheads="1"/>
              </p:cNvSpPr>
              <p:nvPr/>
            </p:nvSpPr>
            <p:spPr bwMode="auto">
              <a:xfrm>
                <a:off x="2665"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4" name="Rectangle 134">
                <a:extLst>
                  <a:ext uri="{FF2B5EF4-FFF2-40B4-BE49-F238E27FC236}">
                    <a16:creationId xmlns:a16="http://schemas.microsoft.com/office/drawing/2014/main" id="{9FD4A4C5-2B89-4125-BA6A-186B780799EE}"/>
                  </a:ext>
                </a:extLst>
              </p:cNvPr>
              <p:cNvSpPr>
                <a:spLocks noChangeArrowheads="1"/>
              </p:cNvSpPr>
              <p:nvPr/>
            </p:nvSpPr>
            <p:spPr bwMode="auto">
              <a:xfrm>
                <a:off x="2725"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5" name="Rectangle 135">
                <a:extLst>
                  <a:ext uri="{FF2B5EF4-FFF2-40B4-BE49-F238E27FC236}">
                    <a16:creationId xmlns:a16="http://schemas.microsoft.com/office/drawing/2014/main" id="{43874C2E-A7C8-4F3C-B539-7789045CB41B}"/>
                  </a:ext>
                </a:extLst>
              </p:cNvPr>
              <p:cNvSpPr>
                <a:spLocks noChangeArrowheads="1"/>
              </p:cNvSpPr>
              <p:nvPr/>
            </p:nvSpPr>
            <p:spPr bwMode="auto">
              <a:xfrm>
                <a:off x="2784"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6" name="Rectangle 136">
                <a:extLst>
                  <a:ext uri="{FF2B5EF4-FFF2-40B4-BE49-F238E27FC236}">
                    <a16:creationId xmlns:a16="http://schemas.microsoft.com/office/drawing/2014/main" id="{AF0866A5-A3DF-4547-9A57-6414AF44A683}"/>
                  </a:ext>
                </a:extLst>
              </p:cNvPr>
              <p:cNvSpPr>
                <a:spLocks noChangeArrowheads="1"/>
              </p:cNvSpPr>
              <p:nvPr/>
            </p:nvSpPr>
            <p:spPr bwMode="auto">
              <a:xfrm>
                <a:off x="2843"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7" name="Rectangle 137">
                <a:extLst>
                  <a:ext uri="{FF2B5EF4-FFF2-40B4-BE49-F238E27FC236}">
                    <a16:creationId xmlns:a16="http://schemas.microsoft.com/office/drawing/2014/main" id="{C836BF16-667B-4807-BAFE-CF0CC6D4B938}"/>
                  </a:ext>
                </a:extLst>
              </p:cNvPr>
              <p:cNvSpPr>
                <a:spLocks noChangeArrowheads="1"/>
              </p:cNvSpPr>
              <p:nvPr/>
            </p:nvSpPr>
            <p:spPr bwMode="auto">
              <a:xfrm>
                <a:off x="2899"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8" name="Rectangle 138">
                <a:extLst>
                  <a:ext uri="{FF2B5EF4-FFF2-40B4-BE49-F238E27FC236}">
                    <a16:creationId xmlns:a16="http://schemas.microsoft.com/office/drawing/2014/main" id="{88B88F1C-38C6-4973-96BF-5BC5B5F1FDFB}"/>
                  </a:ext>
                </a:extLst>
              </p:cNvPr>
              <p:cNvSpPr>
                <a:spLocks noChangeArrowheads="1"/>
              </p:cNvSpPr>
              <p:nvPr/>
            </p:nvSpPr>
            <p:spPr bwMode="auto">
              <a:xfrm>
                <a:off x="2958"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9" name="Rectangle 139">
                <a:extLst>
                  <a:ext uri="{FF2B5EF4-FFF2-40B4-BE49-F238E27FC236}">
                    <a16:creationId xmlns:a16="http://schemas.microsoft.com/office/drawing/2014/main" id="{F6C2047F-CD1D-4FF6-B3D7-359FBA48B4C6}"/>
                  </a:ext>
                </a:extLst>
              </p:cNvPr>
              <p:cNvSpPr>
                <a:spLocks noChangeArrowheads="1"/>
              </p:cNvSpPr>
              <p:nvPr/>
            </p:nvSpPr>
            <p:spPr bwMode="auto">
              <a:xfrm>
                <a:off x="3018"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0" name="Rectangle 140">
                <a:extLst>
                  <a:ext uri="{FF2B5EF4-FFF2-40B4-BE49-F238E27FC236}">
                    <a16:creationId xmlns:a16="http://schemas.microsoft.com/office/drawing/2014/main" id="{D30D0474-C10C-4CC3-8D3E-AA7CF05F1A5B}"/>
                  </a:ext>
                </a:extLst>
              </p:cNvPr>
              <p:cNvSpPr>
                <a:spLocks noChangeArrowheads="1"/>
              </p:cNvSpPr>
              <p:nvPr/>
            </p:nvSpPr>
            <p:spPr bwMode="auto">
              <a:xfrm>
                <a:off x="3077"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1" name="Rectangle 141">
                <a:extLst>
                  <a:ext uri="{FF2B5EF4-FFF2-40B4-BE49-F238E27FC236}">
                    <a16:creationId xmlns:a16="http://schemas.microsoft.com/office/drawing/2014/main" id="{98D18E81-3F68-4480-8D19-B49C030D1BC3}"/>
                  </a:ext>
                </a:extLst>
              </p:cNvPr>
              <p:cNvSpPr>
                <a:spLocks noChangeArrowheads="1"/>
              </p:cNvSpPr>
              <p:nvPr/>
            </p:nvSpPr>
            <p:spPr bwMode="auto">
              <a:xfrm>
                <a:off x="3133"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2" name="Rectangle 142">
                <a:extLst>
                  <a:ext uri="{FF2B5EF4-FFF2-40B4-BE49-F238E27FC236}">
                    <a16:creationId xmlns:a16="http://schemas.microsoft.com/office/drawing/2014/main" id="{AEC37C38-8100-4EE7-AE9C-7D069E96569A}"/>
                  </a:ext>
                </a:extLst>
              </p:cNvPr>
              <p:cNvSpPr>
                <a:spLocks noChangeArrowheads="1"/>
              </p:cNvSpPr>
              <p:nvPr/>
            </p:nvSpPr>
            <p:spPr bwMode="auto">
              <a:xfrm>
                <a:off x="3192"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3" name="Rectangle 143">
                <a:extLst>
                  <a:ext uri="{FF2B5EF4-FFF2-40B4-BE49-F238E27FC236}">
                    <a16:creationId xmlns:a16="http://schemas.microsoft.com/office/drawing/2014/main" id="{2C996170-C8D4-4C1D-9C1E-1995F05CA91E}"/>
                  </a:ext>
                </a:extLst>
              </p:cNvPr>
              <p:cNvSpPr>
                <a:spLocks noChangeArrowheads="1"/>
              </p:cNvSpPr>
              <p:nvPr/>
            </p:nvSpPr>
            <p:spPr bwMode="auto">
              <a:xfrm>
                <a:off x="3223"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4" name="Rectangle 144">
                <a:extLst>
                  <a:ext uri="{FF2B5EF4-FFF2-40B4-BE49-F238E27FC236}">
                    <a16:creationId xmlns:a16="http://schemas.microsoft.com/office/drawing/2014/main" id="{391A97F2-2AD7-41B4-9AFA-EA5D6518D32B}"/>
                  </a:ext>
                </a:extLst>
              </p:cNvPr>
              <p:cNvSpPr>
                <a:spLocks noChangeArrowheads="1"/>
              </p:cNvSpPr>
              <p:nvPr/>
            </p:nvSpPr>
            <p:spPr bwMode="auto">
              <a:xfrm>
                <a:off x="3251" y="93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5" name="Rectangle 145">
                <a:extLst>
                  <a:ext uri="{FF2B5EF4-FFF2-40B4-BE49-F238E27FC236}">
                    <a16:creationId xmlns:a16="http://schemas.microsoft.com/office/drawing/2014/main" id="{669322A3-9DF7-4ECC-9621-CAFE232B3CC2}"/>
                  </a:ext>
                </a:extLst>
              </p:cNvPr>
              <p:cNvSpPr>
                <a:spLocks noChangeArrowheads="1"/>
              </p:cNvSpPr>
              <p:nvPr/>
            </p:nvSpPr>
            <p:spPr bwMode="auto">
              <a:xfrm>
                <a:off x="3280"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6" name="Rectangle 146">
                <a:extLst>
                  <a:ext uri="{FF2B5EF4-FFF2-40B4-BE49-F238E27FC236}">
                    <a16:creationId xmlns:a16="http://schemas.microsoft.com/office/drawing/2014/main" id="{3A1D9A04-1E43-4BA9-B651-75AA4AC10BBA}"/>
                  </a:ext>
                </a:extLst>
              </p:cNvPr>
              <p:cNvSpPr>
                <a:spLocks noChangeArrowheads="1"/>
              </p:cNvSpPr>
              <p:nvPr/>
            </p:nvSpPr>
            <p:spPr bwMode="auto">
              <a:xfrm>
                <a:off x="3311"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7" name="Rectangle 147">
                <a:extLst>
                  <a:ext uri="{FF2B5EF4-FFF2-40B4-BE49-F238E27FC236}">
                    <a16:creationId xmlns:a16="http://schemas.microsoft.com/office/drawing/2014/main" id="{19DC8DDF-F46B-4805-973E-A5776199D766}"/>
                  </a:ext>
                </a:extLst>
              </p:cNvPr>
              <p:cNvSpPr>
                <a:spLocks noChangeArrowheads="1"/>
              </p:cNvSpPr>
              <p:nvPr/>
            </p:nvSpPr>
            <p:spPr bwMode="auto">
              <a:xfrm>
                <a:off x="3339" y="93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8" name="Rectangle 148">
                <a:extLst>
                  <a:ext uri="{FF2B5EF4-FFF2-40B4-BE49-F238E27FC236}">
                    <a16:creationId xmlns:a16="http://schemas.microsoft.com/office/drawing/2014/main" id="{28989533-56AE-4FC9-9065-8565AA44D7A2}"/>
                  </a:ext>
                </a:extLst>
              </p:cNvPr>
              <p:cNvSpPr>
                <a:spLocks noChangeArrowheads="1"/>
              </p:cNvSpPr>
              <p:nvPr/>
            </p:nvSpPr>
            <p:spPr bwMode="auto">
              <a:xfrm>
                <a:off x="3370" y="93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9" name="Rectangle 149">
                <a:extLst>
                  <a:ext uri="{FF2B5EF4-FFF2-40B4-BE49-F238E27FC236}">
                    <a16:creationId xmlns:a16="http://schemas.microsoft.com/office/drawing/2014/main" id="{8BCF025F-6295-42F9-B32E-BBA9E2DBAF85}"/>
                  </a:ext>
                </a:extLst>
              </p:cNvPr>
              <p:cNvSpPr>
                <a:spLocks noChangeArrowheads="1"/>
              </p:cNvSpPr>
              <p:nvPr/>
            </p:nvSpPr>
            <p:spPr bwMode="auto">
              <a:xfrm>
                <a:off x="2462" y="96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0" name="Rectangle 150">
                <a:extLst>
                  <a:ext uri="{FF2B5EF4-FFF2-40B4-BE49-F238E27FC236}">
                    <a16:creationId xmlns:a16="http://schemas.microsoft.com/office/drawing/2014/main" id="{89C8DA00-9C16-4990-AE1F-3136A32A7436}"/>
                  </a:ext>
                </a:extLst>
              </p:cNvPr>
              <p:cNvSpPr>
                <a:spLocks noChangeArrowheads="1"/>
              </p:cNvSpPr>
              <p:nvPr/>
            </p:nvSpPr>
            <p:spPr bwMode="auto">
              <a:xfrm>
                <a:off x="2491"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1" name="Rectangle 151">
                <a:extLst>
                  <a:ext uri="{FF2B5EF4-FFF2-40B4-BE49-F238E27FC236}">
                    <a16:creationId xmlns:a16="http://schemas.microsoft.com/office/drawing/2014/main" id="{3303D975-CB2E-4720-9E00-31C55AF37D09}"/>
                  </a:ext>
                </a:extLst>
              </p:cNvPr>
              <p:cNvSpPr>
                <a:spLocks noChangeArrowheads="1"/>
              </p:cNvSpPr>
              <p:nvPr/>
            </p:nvSpPr>
            <p:spPr bwMode="auto">
              <a:xfrm>
                <a:off x="2519" y="96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2" name="Rectangle 152">
                <a:extLst>
                  <a:ext uri="{FF2B5EF4-FFF2-40B4-BE49-F238E27FC236}">
                    <a16:creationId xmlns:a16="http://schemas.microsoft.com/office/drawing/2014/main" id="{A47E685D-DE26-40BB-A243-B11AF5AE249A}"/>
                  </a:ext>
                </a:extLst>
              </p:cNvPr>
              <p:cNvSpPr>
                <a:spLocks noChangeArrowheads="1"/>
              </p:cNvSpPr>
              <p:nvPr/>
            </p:nvSpPr>
            <p:spPr bwMode="auto">
              <a:xfrm>
                <a:off x="2871"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3" name="Rectangle 153">
                <a:extLst>
                  <a:ext uri="{FF2B5EF4-FFF2-40B4-BE49-F238E27FC236}">
                    <a16:creationId xmlns:a16="http://schemas.microsoft.com/office/drawing/2014/main" id="{BDEB740D-C234-49F2-92CE-A4E36317AD54}"/>
                  </a:ext>
                </a:extLst>
              </p:cNvPr>
              <p:cNvSpPr>
                <a:spLocks noChangeArrowheads="1"/>
              </p:cNvSpPr>
              <p:nvPr/>
            </p:nvSpPr>
            <p:spPr bwMode="auto">
              <a:xfrm>
                <a:off x="2958" y="96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4" name="Rectangle 154">
                <a:extLst>
                  <a:ext uri="{FF2B5EF4-FFF2-40B4-BE49-F238E27FC236}">
                    <a16:creationId xmlns:a16="http://schemas.microsoft.com/office/drawing/2014/main" id="{F00079F0-91CE-4DF6-8C53-CCE3E417CAB4}"/>
                  </a:ext>
                </a:extLst>
              </p:cNvPr>
              <p:cNvSpPr>
                <a:spLocks noChangeArrowheads="1"/>
              </p:cNvSpPr>
              <p:nvPr/>
            </p:nvSpPr>
            <p:spPr bwMode="auto">
              <a:xfrm>
                <a:off x="3018"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5" name="Rectangle 155">
                <a:extLst>
                  <a:ext uri="{FF2B5EF4-FFF2-40B4-BE49-F238E27FC236}">
                    <a16:creationId xmlns:a16="http://schemas.microsoft.com/office/drawing/2014/main" id="{8FA92399-ECC3-4CA0-B5AC-72D81029203B}"/>
                  </a:ext>
                </a:extLst>
              </p:cNvPr>
              <p:cNvSpPr>
                <a:spLocks noChangeArrowheads="1"/>
              </p:cNvSpPr>
              <p:nvPr/>
            </p:nvSpPr>
            <p:spPr bwMode="auto">
              <a:xfrm>
                <a:off x="3077" y="96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6" name="Rectangle 156">
                <a:extLst>
                  <a:ext uri="{FF2B5EF4-FFF2-40B4-BE49-F238E27FC236}">
                    <a16:creationId xmlns:a16="http://schemas.microsoft.com/office/drawing/2014/main" id="{362F7F0F-C17F-4EF4-9544-8AE2AD84737E}"/>
                  </a:ext>
                </a:extLst>
              </p:cNvPr>
              <p:cNvSpPr>
                <a:spLocks noChangeArrowheads="1"/>
              </p:cNvSpPr>
              <p:nvPr/>
            </p:nvSpPr>
            <p:spPr bwMode="auto">
              <a:xfrm>
                <a:off x="2198"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7" name="Rectangle 157">
                <a:extLst>
                  <a:ext uri="{FF2B5EF4-FFF2-40B4-BE49-F238E27FC236}">
                    <a16:creationId xmlns:a16="http://schemas.microsoft.com/office/drawing/2014/main" id="{1E8C56E3-B576-4B05-9766-DC5F69C057AA}"/>
                  </a:ext>
                </a:extLst>
              </p:cNvPr>
              <p:cNvSpPr>
                <a:spLocks noChangeArrowheads="1"/>
              </p:cNvSpPr>
              <p:nvPr/>
            </p:nvSpPr>
            <p:spPr bwMode="auto">
              <a:xfrm>
                <a:off x="222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8" name="Rectangle 158">
                <a:extLst>
                  <a:ext uri="{FF2B5EF4-FFF2-40B4-BE49-F238E27FC236}">
                    <a16:creationId xmlns:a16="http://schemas.microsoft.com/office/drawing/2014/main" id="{588EAC1F-5250-49BD-8342-9A88A8BADB0B}"/>
                  </a:ext>
                </a:extLst>
              </p:cNvPr>
              <p:cNvSpPr>
                <a:spLocks noChangeArrowheads="1"/>
              </p:cNvSpPr>
              <p:nvPr/>
            </p:nvSpPr>
            <p:spPr bwMode="auto">
              <a:xfrm>
                <a:off x="2344"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9" name="Rectangle 159">
                <a:extLst>
                  <a:ext uri="{FF2B5EF4-FFF2-40B4-BE49-F238E27FC236}">
                    <a16:creationId xmlns:a16="http://schemas.microsoft.com/office/drawing/2014/main" id="{BB6A8A61-E29A-4874-8830-0AF1B14D8D47}"/>
                  </a:ext>
                </a:extLst>
              </p:cNvPr>
              <p:cNvSpPr>
                <a:spLocks noChangeArrowheads="1"/>
              </p:cNvSpPr>
              <p:nvPr/>
            </p:nvSpPr>
            <p:spPr bwMode="auto">
              <a:xfrm>
                <a:off x="2372"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0" name="Rectangle 160">
                <a:extLst>
                  <a:ext uri="{FF2B5EF4-FFF2-40B4-BE49-F238E27FC236}">
                    <a16:creationId xmlns:a16="http://schemas.microsoft.com/office/drawing/2014/main" id="{0308AFBD-A669-4487-8F42-93BD172E99CA}"/>
                  </a:ext>
                </a:extLst>
              </p:cNvPr>
              <p:cNvSpPr>
                <a:spLocks noChangeArrowheads="1"/>
              </p:cNvSpPr>
              <p:nvPr/>
            </p:nvSpPr>
            <p:spPr bwMode="auto">
              <a:xfrm>
                <a:off x="2403"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1" name="Rectangle 161">
                <a:extLst>
                  <a:ext uri="{FF2B5EF4-FFF2-40B4-BE49-F238E27FC236}">
                    <a16:creationId xmlns:a16="http://schemas.microsoft.com/office/drawing/2014/main" id="{7280D741-603C-4A01-8E74-A316B7DC4155}"/>
                  </a:ext>
                </a:extLst>
              </p:cNvPr>
              <p:cNvSpPr>
                <a:spLocks noChangeArrowheads="1"/>
              </p:cNvSpPr>
              <p:nvPr/>
            </p:nvSpPr>
            <p:spPr bwMode="auto">
              <a:xfrm>
                <a:off x="2491"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2" name="Rectangle 162">
                <a:extLst>
                  <a:ext uri="{FF2B5EF4-FFF2-40B4-BE49-F238E27FC236}">
                    <a16:creationId xmlns:a16="http://schemas.microsoft.com/office/drawing/2014/main" id="{0785F3FF-19F7-43AD-814C-38931B201639}"/>
                  </a:ext>
                </a:extLst>
              </p:cNvPr>
              <p:cNvSpPr>
                <a:spLocks noChangeArrowheads="1"/>
              </p:cNvSpPr>
              <p:nvPr/>
            </p:nvSpPr>
            <p:spPr bwMode="auto">
              <a:xfrm>
                <a:off x="2550"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3" name="Rectangle 163">
                <a:extLst>
                  <a:ext uri="{FF2B5EF4-FFF2-40B4-BE49-F238E27FC236}">
                    <a16:creationId xmlns:a16="http://schemas.microsoft.com/office/drawing/2014/main" id="{E13FFCD1-7ACC-424A-B653-745AAEF77A5B}"/>
                  </a:ext>
                </a:extLst>
              </p:cNvPr>
              <p:cNvSpPr>
                <a:spLocks noChangeArrowheads="1"/>
              </p:cNvSpPr>
              <p:nvPr/>
            </p:nvSpPr>
            <p:spPr bwMode="auto">
              <a:xfrm>
                <a:off x="2578"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4" name="Rectangle 164">
                <a:extLst>
                  <a:ext uri="{FF2B5EF4-FFF2-40B4-BE49-F238E27FC236}">
                    <a16:creationId xmlns:a16="http://schemas.microsoft.com/office/drawing/2014/main" id="{70863CAD-95C4-4ED9-A377-60439C5B7B34}"/>
                  </a:ext>
                </a:extLst>
              </p:cNvPr>
              <p:cNvSpPr>
                <a:spLocks noChangeArrowheads="1"/>
              </p:cNvSpPr>
              <p:nvPr/>
            </p:nvSpPr>
            <p:spPr bwMode="auto">
              <a:xfrm>
                <a:off x="260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5" name="Rectangle 165">
                <a:extLst>
                  <a:ext uri="{FF2B5EF4-FFF2-40B4-BE49-F238E27FC236}">
                    <a16:creationId xmlns:a16="http://schemas.microsoft.com/office/drawing/2014/main" id="{1A1DDB6F-F675-4FCA-BFB0-11A7CD1BC8B3}"/>
                  </a:ext>
                </a:extLst>
              </p:cNvPr>
              <p:cNvSpPr>
                <a:spLocks noChangeArrowheads="1"/>
              </p:cNvSpPr>
              <p:nvPr/>
            </p:nvSpPr>
            <p:spPr bwMode="auto">
              <a:xfrm>
                <a:off x="2637"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6" name="Rectangle 166">
                <a:extLst>
                  <a:ext uri="{FF2B5EF4-FFF2-40B4-BE49-F238E27FC236}">
                    <a16:creationId xmlns:a16="http://schemas.microsoft.com/office/drawing/2014/main" id="{50FF747C-0854-4EF4-916C-C1B326315DA6}"/>
                  </a:ext>
                </a:extLst>
              </p:cNvPr>
              <p:cNvSpPr>
                <a:spLocks noChangeArrowheads="1"/>
              </p:cNvSpPr>
              <p:nvPr/>
            </p:nvSpPr>
            <p:spPr bwMode="auto">
              <a:xfrm>
                <a:off x="2665"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7" name="Rectangle 167">
                <a:extLst>
                  <a:ext uri="{FF2B5EF4-FFF2-40B4-BE49-F238E27FC236}">
                    <a16:creationId xmlns:a16="http://schemas.microsoft.com/office/drawing/2014/main" id="{A0D76F8B-FD0A-4372-B0A1-0924898B0D0C}"/>
                  </a:ext>
                </a:extLst>
              </p:cNvPr>
              <p:cNvSpPr>
                <a:spLocks noChangeArrowheads="1"/>
              </p:cNvSpPr>
              <p:nvPr/>
            </p:nvSpPr>
            <p:spPr bwMode="auto">
              <a:xfrm>
                <a:off x="2696" y="990"/>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8" name="Rectangle 168">
                <a:extLst>
                  <a:ext uri="{FF2B5EF4-FFF2-40B4-BE49-F238E27FC236}">
                    <a16:creationId xmlns:a16="http://schemas.microsoft.com/office/drawing/2014/main" id="{9F66C55F-8BB9-4FEA-8A3F-224B8A56A6C6}"/>
                  </a:ext>
                </a:extLst>
              </p:cNvPr>
              <p:cNvSpPr>
                <a:spLocks noChangeArrowheads="1"/>
              </p:cNvSpPr>
              <p:nvPr/>
            </p:nvSpPr>
            <p:spPr bwMode="auto">
              <a:xfrm>
                <a:off x="2843"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9" name="Rectangle 169">
                <a:extLst>
                  <a:ext uri="{FF2B5EF4-FFF2-40B4-BE49-F238E27FC236}">
                    <a16:creationId xmlns:a16="http://schemas.microsoft.com/office/drawing/2014/main" id="{D63F13A8-4220-41ED-B424-22A58575B024}"/>
                  </a:ext>
                </a:extLst>
              </p:cNvPr>
              <p:cNvSpPr>
                <a:spLocks noChangeArrowheads="1"/>
              </p:cNvSpPr>
              <p:nvPr/>
            </p:nvSpPr>
            <p:spPr bwMode="auto">
              <a:xfrm>
                <a:off x="2871"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0" name="Rectangle 170">
                <a:extLst>
                  <a:ext uri="{FF2B5EF4-FFF2-40B4-BE49-F238E27FC236}">
                    <a16:creationId xmlns:a16="http://schemas.microsoft.com/office/drawing/2014/main" id="{6693C560-D731-4EDB-9134-1A302F089DB0}"/>
                  </a:ext>
                </a:extLst>
              </p:cNvPr>
              <p:cNvSpPr>
                <a:spLocks noChangeArrowheads="1"/>
              </p:cNvSpPr>
              <p:nvPr/>
            </p:nvSpPr>
            <p:spPr bwMode="auto">
              <a:xfrm>
                <a:off x="2899"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1" name="Rectangle 171">
                <a:extLst>
                  <a:ext uri="{FF2B5EF4-FFF2-40B4-BE49-F238E27FC236}">
                    <a16:creationId xmlns:a16="http://schemas.microsoft.com/office/drawing/2014/main" id="{36EDEB56-C18A-4DA2-A15E-C6B4B8AA2350}"/>
                  </a:ext>
                </a:extLst>
              </p:cNvPr>
              <p:cNvSpPr>
                <a:spLocks noChangeArrowheads="1"/>
              </p:cNvSpPr>
              <p:nvPr/>
            </p:nvSpPr>
            <p:spPr bwMode="auto">
              <a:xfrm>
                <a:off x="2930" y="990"/>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2" name="Rectangle 172">
                <a:extLst>
                  <a:ext uri="{FF2B5EF4-FFF2-40B4-BE49-F238E27FC236}">
                    <a16:creationId xmlns:a16="http://schemas.microsoft.com/office/drawing/2014/main" id="{59873ABE-8272-4A2E-95FB-DFB05D1F221A}"/>
                  </a:ext>
                </a:extLst>
              </p:cNvPr>
              <p:cNvSpPr>
                <a:spLocks noChangeArrowheads="1"/>
              </p:cNvSpPr>
              <p:nvPr/>
            </p:nvSpPr>
            <p:spPr bwMode="auto">
              <a:xfrm>
                <a:off x="2958"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3" name="Rectangle 173">
                <a:extLst>
                  <a:ext uri="{FF2B5EF4-FFF2-40B4-BE49-F238E27FC236}">
                    <a16:creationId xmlns:a16="http://schemas.microsoft.com/office/drawing/2014/main" id="{5915D429-727D-4A20-AE16-7F7B0454EC22}"/>
                  </a:ext>
                </a:extLst>
              </p:cNvPr>
              <p:cNvSpPr>
                <a:spLocks noChangeArrowheads="1"/>
              </p:cNvSpPr>
              <p:nvPr/>
            </p:nvSpPr>
            <p:spPr bwMode="auto">
              <a:xfrm>
                <a:off x="3046"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4" name="Rectangle 174">
                <a:extLst>
                  <a:ext uri="{FF2B5EF4-FFF2-40B4-BE49-F238E27FC236}">
                    <a16:creationId xmlns:a16="http://schemas.microsoft.com/office/drawing/2014/main" id="{F0CABDA7-F418-4590-96AA-3C7ED78D8073}"/>
                  </a:ext>
                </a:extLst>
              </p:cNvPr>
              <p:cNvSpPr>
                <a:spLocks noChangeArrowheads="1"/>
              </p:cNvSpPr>
              <p:nvPr/>
            </p:nvSpPr>
            <p:spPr bwMode="auto">
              <a:xfrm>
                <a:off x="3133"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5" name="Rectangle 175">
                <a:extLst>
                  <a:ext uri="{FF2B5EF4-FFF2-40B4-BE49-F238E27FC236}">
                    <a16:creationId xmlns:a16="http://schemas.microsoft.com/office/drawing/2014/main" id="{EB16B19E-F163-4C39-B1E1-DB18066C978F}"/>
                  </a:ext>
                </a:extLst>
              </p:cNvPr>
              <p:cNvSpPr>
                <a:spLocks noChangeArrowheads="1"/>
              </p:cNvSpPr>
              <p:nvPr/>
            </p:nvSpPr>
            <p:spPr bwMode="auto">
              <a:xfrm>
                <a:off x="3251" y="990"/>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6" name="Rectangle 176">
                <a:extLst>
                  <a:ext uri="{FF2B5EF4-FFF2-40B4-BE49-F238E27FC236}">
                    <a16:creationId xmlns:a16="http://schemas.microsoft.com/office/drawing/2014/main" id="{1DDE5E0D-0FBD-45BF-95DD-63C1C434B0A2}"/>
                  </a:ext>
                </a:extLst>
              </p:cNvPr>
              <p:cNvSpPr>
                <a:spLocks noChangeArrowheads="1"/>
              </p:cNvSpPr>
              <p:nvPr/>
            </p:nvSpPr>
            <p:spPr bwMode="auto">
              <a:xfrm>
                <a:off x="3280" y="990"/>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7" name="Rectangle 177">
                <a:extLst>
                  <a:ext uri="{FF2B5EF4-FFF2-40B4-BE49-F238E27FC236}">
                    <a16:creationId xmlns:a16="http://schemas.microsoft.com/office/drawing/2014/main" id="{05B87DA4-8B23-4F90-93F7-0F947F6C1709}"/>
                  </a:ext>
                </a:extLst>
              </p:cNvPr>
              <p:cNvSpPr>
                <a:spLocks noChangeArrowheads="1"/>
              </p:cNvSpPr>
              <p:nvPr/>
            </p:nvSpPr>
            <p:spPr bwMode="auto">
              <a:xfrm>
                <a:off x="225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8" name="Rectangle 178">
                <a:extLst>
                  <a:ext uri="{FF2B5EF4-FFF2-40B4-BE49-F238E27FC236}">
                    <a16:creationId xmlns:a16="http://schemas.microsoft.com/office/drawing/2014/main" id="{CB7AE1DA-BB5C-4604-9CAC-5599C5237B94}"/>
                  </a:ext>
                </a:extLst>
              </p:cNvPr>
              <p:cNvSpPr>
                <a:spLocks noChangeArrowheads="1"/>
              </p:cNvSpPr>
              <p:nvPr/>
            </p:nvSpPr>
            <p:spPr bwMode="auto">
              <a:xfrm>
                <a:off x="2285"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9" name="Rectangle 179">
                <a:extLst>
                  <a:ext uri="{FF2B5EF4-FFF2-40B4-BE49-F238E27FC236}">
                    <a16:creationId xmlns:a16="http://schemas.microsoft.com/office/drawing/2014/main" id="{ED6DE1E5-FEC5-45DB-B8C0-39B83940CF2D}"/>
                  </a:ext>
                </a:extLst>
              </p:cNvPr>
              <p:cNvSpPr>
                <a:spLocks noChangeArrowheads="1"/>
              </p:cNvSpPr>
              <p:nvPr/>
            </p:nvSpPr>
            <p:spPr bwMode="auto">
              <a:xfrm>
                <a:off x="2316"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0" name="Rectangle 180">
                <a:extLst>
                  <a:ext uri="{FF2B5EF4-FFF2-40B4-BE49-F238E27FC236}">
                    <a16:creationId xmlns:a16="http://schemas.microsoft.com/office/drawing/2014/main" id="{F988E498-9908-4144-9FC9-ABC9FF20C713}"/>
                  </a:ext>
                </a:extLst>
              </p:cNvPr>
              <p:cNvSpPr>
                <a:spLocks noChangeArrowheads="1"/>
              </p:cNvSpPr>
              <p:nvPr/>
            </p:nvSpPr>
            <p:spPr bwMode="auto">
              <a:xfrm>
                <a:off x="2462"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1" name="Rectangle 181">
                <a:extLst>
                  <a:ext uri="{FF2B5EF4-FFF2-40B4-BE49-F238E27FC236}">
                    <a16:creationId xmlns:a16="http://schemas.microsoft.com/office/drawing/2014/main" id="{DEE97692-DDA8-41A5-BFB0-B207F4A1E6BE}"/>
                  </a:ext>
                </a:extLst>
              </p:cNvPr>
              <p:cNvSpPr>
                <a:spLocks noChangeArrowheads="1"/>
              </p:cNvSpPr>
              <p:nvPr/>
            </p:nvSpPr>
            <p:spPr bwMode="auto">
              <a:xfrm>
                <a:off x="249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2" name="Rectangle 182">
                <a:extLst>
                  <a:ext uri="{FF2B5EF4-FFF2-40B4-BE49-F238E27FC236}">
                    <a16:creationId xmlns:a16="http://schemas.microsoft.com/office/drawing/2014/main" id="{35965B28-B262-48ED-9D76-0F2CA74ED719}"/>
                  </a:ext>
                </a:extLst>
              </p:cNvPr>
              <p:cNvSpPr>
                <a:spLocks noChangeArrowheads="1"/>
              </p:cNvSpPr>
              <p:nvPr/>
            </p:nvSpPr>
            <p:spPr bwMode="auto">
              <a:xfrm>
                <a:off x="251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3" name="Rectangle 183">
                <a:extLst>
                  <a:ext uri="{FF2B5EF4-FFF2-40B4-BE49-F238E27FC236}">
                    <a16:creationId xmlns:a16="http://schemas.microsoft.com/office/drawing/2014/main" id="{D41606F8-84C5-4305-BBAC-FD2D106B8957}"/>
                  </a:ext>
                </a:extLst>
              </p:cNvPr>
              <p:cNvSpPr>
                <a:spLocks noChangeArrowheads="1"/>
              </p:cNvSpPr>
              <p:nvPr/>
            </p:nvSpPr>
            <p:spPr bwMode="auto">
              <a:xfrm>
                <a:off x="2550"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4" name="Rectangle 184">
                <a:extLst>
                  <a:ext uri="{FF2B5EF4-FFF2-40B4-BE49-F238E27FC236}">
                    <a16:creationId xmlns:a16="http://schemas.microsoft.com/office/drawing/2014/main" id="{CB703C6A-1C49-4655-B05E-D524FFBFAA83}"/>
                  </a:ext>
                </a:extLst>
              </p:cNvPr>
              <p:cNvSpPr>
                <a:spLocks noChangeArrowheads="1"/>
              </p:cNvSpPr>
              <p:nvPr/>
            </p:nvSpPr>
            <p:spPr bwMode="auto">
              <a:xfrm>
                <a:off x="263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5" name="Rectangle 185">
                <a:extLst>
                  <a:ext uri="{FF2B5EF4-FFF2-40B4-BE49-F238E27FC236}">
                    <a16:creationId xmlns:a16="http://schemas.microsoft.com/office/drawing/2014/main" id="{84643B41-A7E2-4111-AA2B-856F05C15453}"/>
                  </a:ext>
                </a:extLst>
              </p:cNvPr>
              <p:cNvSpPr>
                <a:spLocks noChangeArrowheads="1"/>
              </p:cNvSpPr>
              <p:nvPr/>
            </p:nvSpPr>
            <p:spPr bwMode="auto">
              <a:xfrm>
                <a:off x="2753"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6" name="Rectangle 186">
                <a:extLst>
                  <a:ext uri="{FF2B5EF4-FFF2-40B4-BE49-F238E27FC236}">
                    <a16:creationId xmlns:a16="http://schemas.microsoft.com/office/drawing/2014/main" id="{A9EBDDB9-34CC-4042-ADE5-1091567CBA42}"/>
                  </a:ext>
                </a:extLst>
              </p:cNvPr>
              <p:cNvSpPr>
                <a:spLocks noChangeArrowheads="1"/>
              </p:cNvSpPr>
              <p:nvPr/>
            </p:nvSpPr>
            <p:spPr bwMode="auto">
              <a:xfrm>
                <a:off x="2843"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7" name="Rectangle 187">
                <a:extLst>
                  <a:ext uri="{FF2B5EF4-FFF2-40B4-BE49-F238E27FC236}">
                    <a16:creationId xmlns:a16="http://schemas.microsoft.com/office/drawing/2014/main" id="{2B7F498E-141D-4E13-8417-F99B42348899}"/>
                  </a:ext>
                </a:extLst>
              </p:cNvPr>
              <p:cNvSpPr>
                <a:spLocks noChangeArrowheads="1"/>
              </p:cNvSpPr>
              <p:nvPr/>
            </p:nvSpPr>
            <p:spPr bwMode="auto">
              <a:xfrm>
                <a:off x="287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8" name="Rectangle 188">
                <a:extLst>
                  <a:ext uri="{FF2B5EF4-FFF2-40B4-BE49-F238E27FC236}">
                    <a16:creationId xmlns:a16="http://schemas.microsoft.com/office/drawing/2014/main" id="{5CB9F6C6-7D5B-44FD-A3E9-4A6677974284}"/>
                  </a:ext>
                </a:extLst>
              </p:cNvPr>
              <p:cNvSpPr>
                <a:spLocks noChangeArrowheads="1"/>
              </p:cNvSpPr>
              <p:nvPr/>
            </p:nvSpPr>
            <p:spPr bwMode="auto">
              <a:xfrm>
                <a:off x="289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9" name="Rectangle 189">
                <a:extLst>
                  <a:ext uri="{FF2B5EF4-FFF2-40B4-BE49-F238E27FC236}">
                    <a16:creationId xmlns:a16="http://schemas.microsoft.com/office/drawing/2014/main" id="{356AB512-2C61-4A4E-9735-35EC2FB8579A}"/>
                  </a:ext>
                </a:extLst>
              </p:cNvPr>
              <p:cNvSpPr>
                <a:spLocks noChangeArrowheads="1"/>
              </p:cNvSpPr>
              <p:nvPr/>
            </p:nvSpPr>
            <p:spPr bwMode="auto">
              <a:xfrm>
                <a:off x="2958"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0" name="Rectangle 190">
                <a:extLst>
                  <a:ext uri="{FF2B5EF4-FFF2-40B4-BE49-F238E27FC236}">
                    <a16:creationId xmlns:a16="http://schemas.microsoft.com/office/drawing/2014/main" id="{8A6E9D08-1972-471C-A78E-F2EF5DBDF3FD}"/>
                  </a:ext>
                </a:extLst>
              </p:cNvPr>
              <p:cNvSpPr>
                <a:spLocks noChangeArrowheads="1"/>
              </p:cNvSpPr>
              <p:nvPr/>
            </p:nvSpPr>
            <p:spPr bwMode="auto">
              <a:xfrm>
                <a:off x="2989"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1" name="Rectangle 191">
                <a:extLst>
                  <a:ext uri="{FF2B5EF4-FFF2-40B4-BE49-F238E27FC236}">
                    <a16:creationId xmlns:a16="http://schemas.microsoft.com/office/drawing/2014/main" id="{DBB1E18D-071D-4100-B46F-98E26294F887}"/>
                  </a:ext>
                </a:extLst>
              </p:cNvPr>
              <p:cNvSpPr>
                <a:spLocks noChangeArrowheads="1"/>
              </p:cNvSpPr>
              <p:nvPr/>
            </p:nvSpPr>
            <p:spPr bwMode="auto">
              <a:xfrm>
                <a:off x="3077"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2" name="Rectangle 192">
                <a:extLst>
                  <a:ext uri="{FF2B5EF4-FFF2-40B4-BE49-F238E27FC236}">
                    <a16:creationId xmlns:a16="http://schemas.microsoft.com/office/drawing/2014/main" id="{8D8614B0-B159-43B5-876F-2712D6F437B8}"/>
                  </a:ext>
                </a:extLst>
              </p:cNvPr>
              <p:cNvSpPr>
                <a:spLocks noChangeArrowheads="1"/>
              </p:cNvSpPr>
              <p:nvPr/>
            </p:nvSpPr>
            <p:spPr bwMode="auto">
              <a:xfrm>
                <a:off x="3105"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3" name="Rectangle 193">
                <a:extLst>
                  <a:ext uri="{FF2B5EF4-FFF2-40B4-BE49-F238E27FC236}">
                    <a16:creationId xmlns:a16="http://schemas.microsoft.com/office/drawing/2014/main" id="{B6679A6A-A152-416C-B041-66DD2750B7EF}"/>
                  </a:ext>
                </a:extLst>
              </p:cNvPr>
              <p:cNvSpPr>
                <a:spLocks noChangeArrowheads="1"/>
              </p:cNvSpPr>
              <p:nvPr/>
            </p:nvSpPr>
            <p:spPr bwMode="auto">
              <a:xfrm>
                <a:off x="3164"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4" name="Rectangle 194">
                <a:extLst>
                  <a:ext uri="{FF2B5EF4-FFF2-40B4-BE49-F238E27FC236}">
                    <a16:creationId xmlns:a16="http://schemas.microsoft.com/office/drawing/2014/main" id="{67084068-A4D7-430C-9768-0DAB88E1818D}"/>
                  </a:ext>
                </a:extLst>
              </p:cNvPr>
              <p:cNvSpPr>
                <a:spLocks noChangeArrowheads="1"/>
              </p:cNvSpPr>
              <p:nvPr/>
            </p:nvSpPr>
            <p:spPr bwMode="auto">
              <a:xfrm>
                <a:off x="3223"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5" name="Rectangle 195">
                <a:extLst>
                  <a:ext uri="{FF2B5EF4-FFF2-40B4-BE49-F238E27FC236}">
                    <a16:creationId xmlns:a16="http://schemas.microsoft.com/office/drawing/2014/main" id="{90F439F6-A33B-4A58-A510-2762122082B9}"/>
                  </a:ext>
                </a:extLst>
              </p:cNvPr>
              <p:cNvSpPr>
                <a:spLocks noChangeArrowheads="1"/>
              </p:cNvSpPr>
              <p:nvPr/>
            </p:nvSpPr>
            <p:spPr bwMode="auto">
              <a:xfrm>
                <a:off x="3251" y="1021"/>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6" name="Rectangle 196">
                <a:extLst>
                  <a:ext uri="{FF2B5EF4-FFF2-40B4-BE49-F238E27FC236}">
                    <a16:creationId xmlns:a16="http://schemas.microsoft.com/office/drawing/2014/main" id="{2272B307-105A-4009-A5D4-8398A4E17858}"/>
                  </a:ext>
                </a:extLst>
              </p:cNvPr>
              <p:cNvSpPr>
                <a:spLocks noChangeArrowheads="1"/>
              </p:cNvSpPr>
              <p:nvPr/>
            </p:nvSpPr>
            <p:spPr bwMode="auto">
              <a:xfrm>
                <a:off x="3280"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7" name="Rectangle 197">
                <a:extLst>
                  <a:ext uri="{FF2B5EF4-FFF2-40B4-BE49-F238E27FC236}">
                    <a16:creationId xmlns:a16="http://schemas.microsoft.com/office/drawing/2014/main" id="{B4A538E5-598B-45F6-AB29-F900F16B6E2B}"/>
                  </a:ext>
                </a:extLst>
              </p:cNvPr>
              <p:cNvSpPr>
                <a:spLocks noChangeArrowheads="1"/>
              </p:cNvSpPr>
              <p:nvPr/>
            </p:nvSpPr>
            <p:spPr bwMode="auto">
              <a:xfrm>
                <a:off x="3311" y="1021"/>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8" name="Rectangle 198">
                <a:extLst>
                  <a:ext uri="{FF2B5EF4-FFF2-40B4-BE49-F238E27FC236}">
                    <a16:creationId xmlns:a16="http://schemas.microsoft.com/office/drawing/2014/main" id="{643E7F55-7C4F-42D6-B770-20CD6CF25ACD}"/>
                  </a:ext>
                </a:extLst>
              </p:cNvPr>
              <p:cNvSpPr>
                <a:spLocks noChangeArrowheads="1"/>
              </p:cNvSpPr>
              <p:nvPr/>
            </p:nvSpPr>
            <p:spPr bwMode="auto">
              <a:xfrm>
                <a:off x="3339" y="1021"/>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9" name="Rectangle 199">
                <a:extLst>
                  <a:ext uri="{FF2B5EF4-FFF2-40B4-BE49-F238E27FC236}">
                    <a16:creationId xmlns:a16="http://schemas.microsoft.com/office/drawing/2014/main" id="{8D0691AE-D852-4403-8A2F-7D6822888082}"/>
                  </a:ext>
                </a:extLst>
              </p:cNvPr>
              <p:cNvSpPr>
                <a:spLocks noChangeArrowheads="1"/>
              </p:cNvSpPr>
              <p:nvPr/>
            </p:nvSpPr>
            <p:spPr bwMode="auto">
              <a:xfrm>
                <a:off x="2285"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0" name="Rectangle 200">
                <a:extLst>
                  <a:ext uri="{FF2B5EF4-FFF2-40B4-BE49-F238E27FC236}">
                    <a16:creationId xmlns:a16="http://schemas.microsoft.com/office/drawing/2014/main" id="{D2CCB4B9-8773-4662-849D-EDB578F6B86E}"/>
                  </a:ext>
                </a:extLst>
              </p:cNvPr>
              <p:cNvSpPr>
                <a:spLocks noChangeArrowheads="1"/>
              </p:cNvSpPr>
              <p:nvPr/>
            </p:nvSpPr>
            <p:spPr bwMode="auto">
              <a:xfrm>
                <a:off x="2316"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1" name="Rectangle 201">
                <a:extLst>
                  <a:ext uri="{FF2B5EF4-FFF2-40B4-BE49-F238E27FC236}">
                    <a16:creationId xmlns:a16="http://schemas.microsoft.com/office/drawing/2014/main" id="{7ED94665-99D9-4943-9608-892C9C86F9B4}"/>
                  </a:ext>
                </a:extLst>
              </p:cNvPr>
              <p:cNvSpPr>
                <a:spLocks noChangeArrowheads="1"/>
              </p:cNvSpPr>
              <p:nvPr/>
            </p:nvSpPr>
            <p:spPr bwMode="auto">
              <a:xfrm>
                <a:off x="2372"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2" name="Rectangle 202">
                <a:extLst>
                  <a:ext uri="{FF2B5EF4-FFF2-40B4-BE49-F238E27FC236}">
                    <a16:creationId xmlns:a16="http://schemas.microsoft.com/office/drawing/2014/main" id="{F76BAA6D-AD17-459C-8CE1-60A20B313C9C}"/>
                  </a:ext>
                </a:extLst>
              </p:cNvPr>
              <p:cNvSpPr>
                <a:spLocks noChangeArrowheads="1"/>
              </p:cNvSpPr>
              <p:nvPr/>
            </p:nvSpPr>
            <p:spPr bwMode="auto">
              <a:xfrm>
                <a:off x="240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3" name="Rectangle 203">
                <a:extLst>
                  <a:ext uri="{FF2B5EF4-FFF2-40B4-BE49-F238E27FC236}">
                    <a16:creationId xmlns:a16="http://schemas.microsoft.com/office/drawing/2014/main" id="{E44C4F1E-469B-4814-9327-DCEAC1CE75AA}"/>
                  </a:ext>
                </a:extLst>
              </p:cNvPr>
              <p:cNvSpPr>
                <a:spLocks noChangeArrowheads="1"/>
              </p:cNvSpPr>
              <p:nvPr/>
            </p:nvSpPr>
            <p:spPr bwMode="auto">
              <a:xfrm>
                <a:off x="2431"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4" name="Rectangle 204">
                <a:extLst>
                  <a:ext uri="{FF2B5EF4-FFF2-40B4-BE49-F238E27FC236}">
                    <a16:creationId xmlns:a16="http://schemas.microsoft.com/office/drawing/2014/main" id="{C89C3A6C-BA18-414D-9E2B-1B23B469ACBC}"/>
                  </a:ext>
                </a:extLst>
              </p:cNvPr>
              <p:cNvSpPr>
                <a:spLocks noChangeArrowheads="1"/>
              </p:cNvSpPr>
              <p:nvPr/>
            </p:nvSpPr>
            <p:spPr bwMode="auto">
              <a:xfrm>
                <a:off x="2462" y="104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5" name="Rectangle 205">
                <a:extLst>
                  <a:ext uri="{FF2B5EF4-FFF2-40B4-BE49-F238E27FC236}">
                    <a16:creationId xmlns:a16="http://schemas.microsoft.com/office/drawing/2014/main" id="{4844F959-9ADE-4D4A-8457-F62E21445E0D}"/>
                  </a:ext>
                </a:extLst>
              </p:cNvPr>
              <p:cNvSpPr>
                <a:spLocks noChangeArrowheads="1"/>
              </p:cNvSpPr>
              <p:nvPr/>
            </p:nvSpPr>
            <p:spPr bwMode="auto">
              <a:xfrm>
                <a:off x="2519"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19" name="Group 407">
              <a:extLst>
                <a:ext uri="{FF2B5EF4-FFF2-40B4-BE49-F238E27FC236}">
                  <a16:creationId xmlns:a16="http://schemas.microsoft.com/office/drawing/2014/main" id="{B01B660A-750A-4667-B0DC-A82B5D9B5468}"/>
                </a:ext>
              </a:extLst>
            </p:cNvPr>
            <p:cNvGrpSpPr>
              <a:grpSpLocks/>
            </p:cNvGrpSpPr>
            <p:nvPr/>
          </p:nvGrpSpPr>
          <p:grpSpPr bwMode="auto">
            <a:xfrm>
              <a:off x="2198" y="1049"/>
              <a:ext cx="1200" cy="293"/>
              <a:chOff x="2198" y="1049"/>
              <a:chExt cx="1200" cy="293"/>
            </a:xfrm>
          </p:grpSpPr>
          <p:sp>
            <p:nvSpPr>
              <p:cNvPr id="436" name="Rectangle 207">
                <a:extLst>
                  <a:ext uri="{FF2B5EF4-FFF2-40B4-BE49-F238E27FC236}">
                    <a16:creationId xmlns:a16="http://schemas.microsoft.com/office/drawing/2014/main" id="{52296600-805D-4B82-A72B-E5EDD373773C}"/>
                  </a:ext>
                </a:extLst>
              </p:cNvPr>
              <p:cNvSpPr>
                <a:spLocks noChangeArrowheads="1"/>
              </p:cNvSpPr>
              <p:nvPr/>
            </p:nvSpPr>
            <p:spPr bwMode="auto">
              <a:xfrm>
                <a:off x="2550"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7" name="Rectangle 208">
                <a:extLst>
                  <a:ext uri="{FF2B5EF4-FFF2-40B4-BE49-F238E27FC236}">
                    <a16:creationId xmlns:a16="http://schemas.microsoft.com/office/drawing/2014/main" id="{9FEBA44D-102B-4F35-BEC0-7B7A47626E60}"/>
                  </a:ext>
                </a:extLst>
              </p:cNvPr>
              <p:cNvSpPr>
                <a:spLocks noChangeArrowheads="1"/>
              </p:cNvSpPr>
              <p:nvPr/>
            </p:nvSpPr>
            <p:spPr bwMode="auto">
              <a:xfrm>
                <a:off x="2637"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8" name="Rectangle 209">
                <a:extLst>
                  <a:ext uri="{FF2B5EF4-FFF2-40B4-BE49-F238E27FC236}">
                    <a16:creationId xmlns:a16="http://schemas.microsoft.com/office/drawing/2014/main" id="{EBFEC211-FA61-4C76-852E-7340D4BB76A0}"/>
                  </a:ext>
                </a:extLst>
              </p:cNvPr>
              <p:cNvSpPr>
                <a:spLocks noChangeArrowheads="1"/>
              </p:cNvSpPr>
              <p:nvPr/>
            </p:nvSpPr>
            <p:spPr bwMode="auto">
              <a:xfrm>
                <a:off x="2665"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9" name="Rectangle 210">
                <a:extLst>
                  <a:ext uri="{FF2B5EF4-FFF2-40B4-BE49-F238E27FC236}">
                    <a16:creationId xmlns:a16="http://schemas.microsoft.com/office/drawing/2014/main" id="{082E6FFC-62A1-422B-B237-5CBFCC959255}"/>
                  </a:ext>
                </a:extLst>
              </p:cNvPr>
              <p:cNvSpPr>
                <a:spLocks noChangeArrowheads="1"/>
              </p:cNvSpPr>
              <p:nvPr/>
            </p:nvSpPr>
            <p:spPr bwMode="auto">
              <a:xfrm>
                <a:off x="2725"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0" name="Rectangle 211">
                <a:extLst>
                  <a:ext uri="{FF2B5EF4-FFF2-40B4-BE49-F238E27FC236}">
                    <a16:creationId xmlns:a16="http://schemas.microsoft.com/office/drawing/2014/main" id="{E531AC93-6D68-4F92-BC36-F4014A2CB7C4}"/>
                  </a:ext>
                </a:extLst>
              </p:cNvPr>
              <p:cNvSpPr>
                <a:spLocks noChangeArrowheads="1"/>
              </p:cNvSpPr>
              <p:nvPr/>
            </p:nvSpPr>
            <p:spPr bwMode="auto">
              <a:xfrm>
                <a:off x="2784"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1" name="Rectangle 212">
                <a:extLst>
                  <a:ext uri="{FF2B5EF4-FFF2-40B4-BE49-F238E27FC236}">
                    <a16:creationId xmlns:a16="http://schemas.microsoft.com/office/drawing/2014/main" id="{0E2B31DE-F165-49AF-979F-ED32AAD1A2E2}"/>
                  </a:ext>
                </a:extLst>
              </p:cNvPr>
              <p:cNvSpPr>
                <a:spLocks noChangeArrowheads="1"/>
              </p:cNvSpPr>
              <p:nvPr/>
            </p:nvSpPr>
            <p:spPr bwMode="auto">
              <a:xfrm>
                <a:off x="2812"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2" name="Rectangle 213">
                <a:extLst>
                  <a:ext uri="{FF2B5EF4-FFF2-40B4-BE49-F238E27FC236}">
                    <a16:creationId xmlns:a16="http://schemas.microsoft.com/office/drawing/2014/main" id="{8C9DA378-451E-4E3A-887F-0A97A9FCEC41}"/>
                  </a:ext>
                </a:extLst>
              </p:cNvPr>
              <p:cNvSpPr>
                <a:spLocks noChangeArrowheads="1"/>
              </p:cNvSpPr>
              <p:nvPr/>
            </p:nvSpPr>
            <p:spPr bwMode="auto">
              <a:xfrm>
                <a:off x="284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3" name="Rectangle 214">
                <a:extLst>
                  <a:ext uri="{FF2B5EF4-FFF2-40B4-BE49-F238E27FC236}">
                    <a16:creationId xmlns:a16="http://schemas.microsoft.com/office/drawing/2014/main" id="{C34C5582-9AD0-4EDF-8D1D-E4715F7EFCC2}"/>
                  </a:ext>
                </a:extLst>
              </p:cNvPr>
              <p:cNvSpPr>
                <a:spLocks noChangeArrowheads="1"/>
              </p:cNvSpPr>
              <p:nvPr/>
            </p:nvSpPr>
            <p:spPr bwMode="auto">
              <a:xfrm>
                <a:off x="2899"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4" name="Rectangle 215">
                <a:extLst>
                  <a:ext uri="{FF2B5EF4-FFF2-40B4-BE49-F238E27FC236}">
                    <a16:creationId xmlns:a16="http://schemas.microsoft.com/office/drawing/2014/main" id="{47B211B6-721D-43CD-B148-7BC1A1766E9A}"/>
                  </a:ext>
                </a:extLst>
              </p:cNvPr>
              <p:cNvSpPr>
                <a:spLocks noChangeArrowheads="1"/>
              </p:cNvSpPr>
              <p:nvPr/>
            </p:nvSpPr>
            <p:spPr bwMode="auto">
              <a:xfrm>
                <a:off x="2930"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5" name="Rectangle 216">
                <a:extLst>
                  <a:ext uri="{FF2B5EF4-FFF2-40B4-BE49-F238E27FC236}">
                    <a16:creationId xmlns:a16="http://schemas.microsoft.com/office/drawing/2014/main" id="{71D68D2E-670B-48AD-9058-1449ED4C1D0E}"/>
                  </a:ext>
                </a:extLst>
              </p:cNvPr>
              <p:cNvSpPr>
                <a:spLocks noChangeArrowheads="1"/>
              </p:cNvSpPr>
              <p:nvPr/>
            </p:nvSpPr>
            <p:spPr bwMode="auto">
              <a:xfrm>
                <a:off x="2989" y="104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6" name="Rectangle 217">
                <a:extLst>
                  <a:ext uri="{FF2B5EF4-FFF2-40B4-BE49-F238E27FC236}">
                    <a16:creationId xmlns:a16="http://schemas.microsoft.com/office/drawing/2014/main" id="{73BCE50B-643D-4FCC-B0F8-00E83EEA8DFB}"/>
                  </a:ext>
                </a:extLst>
              </p:cNvPr>
              <p:cNvSpPr>
                <a:spLocks noChangeArrowheads="1"/>
              </p:cNvSpPr>
              <p:nvPr/>
            </p:nvSpPr>
            <p:spPr bwMode="auto">
              <a:xfrm>
                <a:off x="3018"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7" name="Rectangle 218">
                <a:extLst>
                  <a:ext uri="{FF2B5EF4-FFF2-40B4-BE49-F238E27FC236}">
                    <a16:creationId xmlns:a16="http://schemas.microsoft.com/office/drawing/2014/main" id="{F646D86F-146A-4183-B731-EC772DF56765}"/>
                  </a:ext>
                </a:extLst>
              </p:cNvPr>
              <p:cNvSpPr>
                <a:spLocks noChangeArrowheads="1"/>
              </p:cNvSpPr>
              <p:nvPr/>
            </p:nvSpPr>
            <p:spPr bwMode="auto">
              <a:xfrm>
                <a:off x="3046"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8" name="Rectangle 219">
                <a:extLst>
                  <a:ext uri="{FF2B5EF4-FFF2-40B4-BE49-F238E27FC236}">
                    <a16:creationId xmlns:a16="http://schemas.microsoft.com/office/drawing/2014/main" id="{89F3DCD4-1EA5-4531-90BD-F4A91466EA42}"/>
                  </a:ext>
                </a:extLst>
              </p:cNvPr>
              <p:cNvSpPr>
                <a:spLocks noChangeArrowheads="1"/>
              </p:cNvSpPr>
              <p:nvPr/>
            </p:nvSpPr>
            <p:spPr bwMode="auto">
              <a:xfrm>
                <a:off x="3133" y="104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49" name="Rectangle 220">
                <a:extLst>
                  <a:ext uri="{FF2B5EF4-FFF2-40B4-BE49-F238E27FC236}">
                    <a16:creationId xmlns:a16="http://schemas.microsoft.com/office/drawing/2014/main" id="{96859C84-5D8E-4ADE-BB3C-28BB350C2245}"/>
                  </a:ext>
                </a:extLst>
              </p:cNvPr>
              <p:cNvSpPr>
                <a:spLocks noChangeArrowheads="1"/>
              </p:cNvSpPr>
              <p:nvPr/>
            </p:nvSpPr>
            <p:spPr bwMode="auto">
              <a:xfrm>
                <a:off x="3223" y="104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0" name="Rectangle 221">
                <a:extLst>
                  <a:ext uri="{FF2B5EF4-FFF2-40B4-BE49-F238E27FC236}">
                    <a16:creationId xmlns:a16="http://schemas.microsoft.com/office/drawing/2014/main" id="{40BB964B-240E-4B25-9275-6A31C12E67C4}"/>
                  </a:ext>
                </a:extLst>
              </p:cNvPr>
              <p:cNvSpPr>
                <a:spLocks noChangeArrowheads="1"/>
              </p:cNvSpPr>
              <p:nvPr/>
            </p:nvSpPr>
            <p:spPr bwMode="auto">
              <a:xfrm>
                <a:off x="2226"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1" name="Rectangle 222">
                <a:extLst>
                  <a:ext uri="{FF2B5EF4-FFF2-40B4-BE49-F238E27FC236}">
                    <a16:creationId xmlns:a16="http://schemas.microsoft.com/office/drawing/2014/main" id="{CF59B214-8836-47CC-B4EC-3BDECDD12021}"/>
                  </a:ext>
                </a:extLst>
              </p:cNvPr>
              <p:cNvSpPr>
                <a:spLocks noChangeArrowheads="1"/>
              </p:cNvSpPr>
              <p:nvPr/>
            </p:nvSpPr>
            <p:spPr bwMode="auto">
              <a:xfrm>
                <a:off x="2257"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2" name="Rectangle 223">
                <a:extLst>
                  <a:ext uri="{FF2B5EF4-FFF2-40B4-BE49-F238E27FC236}">
                    <a16:creationId xmlns:a16="http://schemas.microsoft.com/office/drawing/2014/main" id="{B981B4F9-5520-41F9-84C3-2F89A1E77EE6}"/>
                  </a:ext>
                </a:extLst>
              </p:cNvPr>
              <p:cNvSpPr>
                <a:spLocks noChangeArrowheads="1"/>
              </p:cNvSpPr>
              <p:nvPr/>
            </p:nvSpPr>
            <p:spPr bwMode="auto">
              <a:xfrm>
                <a:off x="2462"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3" name="Rectangle 224">
                <a:extLst>
                  <a:ext uri="{FF2B5EF4-FFF2-40B4-BE49-F238E27FC236}">
                    <a16:creationId xmlns:a16="http://schemas.microsoft.com/office/drawing/2014/main" id="{B51E5CE8-FF0E-42F0-9ED9-9DF6946CFCED}"/>
                  </a:ext>
                </a:extLst>
              </p:cNvPr>
              <p:cNvSpPr>
                <a:spLocks noChangeArrowheads="1"/>
              </p:cNvSpPr>
              <p:nvPr/>
            </p:nvSpPr>
            <p:spPr bwMode="auto">
              <a:xfrm>
                <a:off x="251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4" name="Rectangle 225">
                <a:extLst>
                  <a:ext uri="{FF2B5EF4-FFF2-40B4-BE49-F238E27FC236}">
                    <a16:creationId xmlns:a16="http://schemas.microsoft.com/office/drawing/2014/main" id="{D83AD60A-A318-4AA4-B231-BDBBCF2D112D}"/>
                  </a:ext>
                </a:extLst>
              </p:cNvPr>
              <p:cNvSpPr>
                <a:spLocks noChangeArrowheads="1"/>
              </p:cNvSpPr>
              <p:nvPr/>
            </p:nvSpPr>
            <p:spPr bwMode="auto">
              <a:xfrm>
                <a:off x="2550"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5" name="Rectangle 226">
                <a:extLst>
                  <a:ext uri="{FF2B5EF4-FFF2-40B4-BE49-F238E27FC236}">
                    <a16:creationId xmlns:a16="http://schemas.microsoft.com/office/drawing/2014/main" id="{AFF06D43-795C-430E-ACC2-46219B28B0AB}"/>
                  </a:ext>
                </a:extLst>
              </p:cNvPr>
              <p:cNvSpPr>
                <a:spLocks noChangeArrowheads="1"/>
              </p:cNvSpPr>
              <p:nvPr/>
            </p:nvSpPr>
            <p:spPr bwMode="auto">
              <a:xfrm>
                <a:off x="2606"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6" name="Rectangle 227">
                <a:extLst>
                  <a:ext uri="{FF2B5EF4-FFF2-40B4-BE49-F238E27FC236}">
                    <a16:creationId xmlns:a16="http://schemas.microsoft.com/office/drawing/2014/main" id="{21699503-FFB2-4D69-A5CF-26D31F809BAF}"/>
                  </a:ext>
                </a:extLst>
              </p:cNvPr>
              <p:cNvSpPr>
                <a:spLocks noChangeArrowheads="1"/>
              </p:cNvSpPr>
              <p:nvPr/>
            </p:nvSpPr>
            <p:spPr bwMode="auto">
              <a:xfrm>
                <a:off x="2665"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7" name="Rectangle 228">
                <a:extLst>
                  <a:ext uri="{FF2B5EF4-FFF2-40B4-BE49-F238E27FC236}">
                    <a16:creationId xmlns:a16="http://schemas.microsoft.com/office/drawing/2014/main" id="{3968D6BC-5F3A-48CC-838F-8D4C6B8CF4C0}"/>
                  </a:ext>
                </a:extLst>
              </p:cNvPr>
              <p:cNvSpPr>
                <a:spLocks noChangeArrowheads="1"/>
              </p:cNvSpPr>
              <p:nvPr/>
            </p:nvSpPr>
            <p:spPr bwMode="auto">
              <a:xfrm>
                <a:off x="2753"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8" name="Rectangle 229">
                <a:extLst>
                  <a:ext uri="{FF2B5EF4-FFF2-40B4-BE49-F238E27FC236}">
                    <a16:creationId xmlns:a16="http://schemas.microsoft.com/office/drawing/2014/main" id="{C71020F2-1DFD-43CA-866D-C222A026D8C7}"/>
                  </a:ext>
                </a:extLst>
              </p:cNvPr>
              <p:cNvSpPr>
                <a:spLocks noChangeArrowheads="1"/>
              </p:cNvSpPr>
              <p:nvPr/>
            </p:nvSpPr>
            <p:spPr bwMode="auto">
              <a:xfrm>
                <a:off x="2871"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9" name="Rectangle 230">
                <a:extLst>
                  <a:ext uri="{FF2B5EF4-FFF2-40B4-BE49-F238E27FC236}">
                    <a16:creationId xmlns:a16="http://schemas.microsoft.com/office/drawing/2014/main" id="{7C6909AC-A1D9-45C6-9943-9F83539B9F6E}"/>
                  </a:ext>
                </a:extLst>
              </p:cNvPr>
              <p:cNvSpPr>
                <a:spLocks noChangeArrowheads="1"/>
              </p:cNvSpPr>
              <p:nvPr/>
            </p:nvSpPr>
            <p:spPr bwMode="auto">
              <a:xfrm>
                <a:off x="289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0" name="Rectangle 231">
                <a:extLst>
                  <a:ext uri="{FF2B5EF4-FFF2-40B4-BE49-F238E27FC236}">
                    <a16:creationId xmlns:a16="http://schemas.microsoft.com/office/drawing/2014/main" id="{3DEE57F3-C51F-4EBF-B2A1-ADA4F7F50E32}"/>
                  </a:ext>
                </a:extLst>
              </p:cNvPr>
              <p:cNvSpPr>
                <a:spLocks noChangeArrowheads="1"/>
              </p:cNvSpPr>
              <p:nvPr/>
            </p:nvSpPr>
            <p:spPr bwMode="auto">
              <a:xfrm>
                <a:off x="2989"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1" name="Rectangle 232">
                <a:extLst>
                  <a:ext uri="{FF2B5EF4-FFF2-40B4-BE49-F238E27FC236}">
                    <a16:creationId xmlns:a16="http://schemas.microsoft.com/office/drawing/2014/main" id="{AA2AFFFD-ADD2-4A58-B778-C8DEB44D73E4}"/>
                  </a:ext>
                </a:extLst>
              </p:cNvPr>
              <p:cNvSpPr>
                <a:spLocks noChangeArrowheads="1"/>
              </p:cNvSpPr>
              <p:nvPr/>
            </p:nvSpPr>
            <p:spPr bwMode="auto">
              <a:xfrm>
                <a:off x="3105"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2" name="Rectangle 233">
                <a:extLst>
                  <a:ext uri="{FF2B5EF4-FFF2-40B4-BE49-F238E27FC236}">
                    <a16:creationId xmlns:a16="http://schemas.microsoft.com/office/drawing/2014/main" id="{91233FF1-8C9F-49E3-84E3-FDDA01172E48}"/>
                  </a:ext>
                </a:extLst>
              </p:cNvPr>
              <p:cNvSpPr>
                <a:spLocks noChangeArrowheads="1"/>
              </p:cNvSpPr>
              <p:nvPr/>
            </p:nvSpPr>
            <p:spPr bwMode="auto">
              <a:xfrm>
                <a:off x="3223" y="107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3" name="Rectangle 234">
                <a:extLst>
                  <a:ext uri="{FF2B5EF4-FFF2-40B4-BE49-F238E27FC236}">
                    <a16:creationId xmlns:a16="http://schemas.microsoft.com/office/drawing/2014/main" id="{C3AFC816-D4C2-4117-817E-E57955BB13CC}"/>
                  </a:ext>
                </a:extLst>
              </p:cNvPr>
              <p:cNvSpPr>
                <a:spLocks noChangeArrowheads="1"/>
              </p:cNvSpPr>
              <p:nvPr/>
            </p:nvSpPr>
            <p:spPr bwMode="auto">
              <a:xfrm>
                <a:off x="3251" y="1078"/>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4" name="Rectangle 235">
                <a:extLst>
                  <a:ext uri="{FF2B5EF4-FFF2-40B4-BE49-F238E27FC236}">
                    <a16:creationId xmlns:a16="http://schemas.microsoft.com/office/drawing/2014/main" id="{CA974D82-A7A6-4866-9884-A54B6FB01313}"/>
                  </a:ext>
                </a:extLst>
              </p:cNvPr>
              <p:cNvSpPr>
                <a:spLocks noChangeArrowheads="1"/>
              </p:cNvSpPr>
              <p:nvPr/>
            </p:nvSpPr>
            <p:spPr bwMode="auto">
              <a:xfrm>
                <a:off x="3280"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5" name="Rectangle 236">
                <a:extLst>
                  <a:ext uri="{FF2B5EF4-FFF2-40B4-BE49-F238E27FC236}">
                    <a16:creationId xmlns:a16="http://schemas.microsoft.com/office/drawing/2014/main" id="{8655EF26-A284-4A76-923C-2A77E1D7F11F}"/>
                  </a:ext>
                </a:extLst>
              </p:cNvPr>
              <p:cNvSpPr>
                <a:spLocks noChangeArrowheads="1"/>
              </p:cNvSpPr>
              <p:nvPr/>
            </p:nvSpPr>
            <p:spPr bwMode="auto">
              <a:xfrm>
                <a:off x="3339" y="107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6" name="Rectangle 237">
                <a:extLst>
                  <a:ext uri="{FF2B5EF4-FFF2-40B4-BE49-F238E27FC236}">
                    <a16:creationId xmlns:a16="http://schemas.microsoft.com/office/drawing/2014/main" id="{D83D62F1-D421-4FF5-A6FA-FEEA5A0A266B}"/>
                  </a:ext>
                </a:extLst>
              </p:cNvPr>
              <p:cNvSpPr>
                <a:spLocks noChangeArrowheads="1"/>
              </p:cNvSpPr>
              <p:nvPr/>
            </p:nvSpPr>
            <p:spPr bwMode="auto">
              <a:xfrm>
                <a:off x="2226"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7" name="Rectangle 238">
                <a:extLst>
                  <a:ext uri="{FF2B5EF4-FFF2-40B4-BE49-F238E27FC236}">
                    <a16:creationId xmlns:a16="http://schemas.microsoft.com/office/drawing/2014/main" id="{91C85096-43D9-4031-B033-DFE6B75CE3D0}"/>
                  </a:ext>
                </a:extLst>
              </p:cNvPr>
              <p:cNvSpPr>
                <a:spLocks noChangeArrowheads="1"/>
              </p:cNvSpPr>
              <p:nvPr/>
            </p:nvSpPr>
            <p:spPr bwMode="auto">
              <a:xfrm>
                <a:off x="2257"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8" name="Rectangle 239">
                <a:extLst>
                  <a:ext uri="{FF2B5EF4-FFF2-40B4-BE49-F238E27FC236}">
                    <a16:creationId xmlns:a16="http://schemas.microsoft.com/office/drawing/2014/main" id="{B8D1ED3C-94B7-4868-8ED8-33B205EF94F8}"/>
                  </a:ext>
                </a:extLst>
              </p:cNvPr>
              <p:cNvSpPr>
                <a:spLocks noChangeArrowheads="1"/>
              </p:cNvSpPr>
              <p:nvPr/>
            </p:nvSpPr>
            <p:spPr bwMode="auto">
              <a:xfrm>
                <a:off x="2285"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9" name="Rectangle 240">
                <a:extLst>
                  <a:ext uri="{FF2B5EF4-FFF2-40B4-BE49-F238E27FC236}">
                    <a16:creationId xmlns:a16="http://schemas.microsoft.com/office/drawing/2014/main" id="{64E1AE6B-834E-4DAD-94D5-51B8D9307F93}"/>
                  </a:ext>
                </a:extLst>
              </p:cNvPr>
              <p:cNvSpPr>
                <a:spLocks noChangeArrowheads="1"/>
              </p:cNvSpPr>
              <p:nvPr/>
            </p:nvSpPr>
            <p:spPr bwMode="auto">
              <a:xfrm>
                <a:off x="2316"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0" name="Rectangle 241">
                <a:extLst>
                  <a:ext uri="{FF2B5EF4-FFF2-40B4-BE49-F238E27FC236}">
                    <a16:creationId xmlns:a16="http://schemas.microsoft.com/office/drawing/2014/main" id="{DCDB1568-4DA4-4E58-B6F7-6A39AAC154AE}"/>
                  </a:ext>
                </a:extLst>
              </p:cNvPr>
              <p:cNvSpPr>
                <a:spLocks noChangeArrowheads="1"/>
              </p:cNvSpPr>
              <p:nvPr/>
            </p:nvSpPr>
            <p:spPr bwMode="auto">
              <a:xfrm>
                <a:off x="2372"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1" name="Rectangle 242">
                <a:extLst>
                  <a:ext uri="{FF2B5EF4-FFF2-40B4-BE49-F238E27FC236}">
                    <a16:creationId xmlns:a16="http://schemas.microsoft.com/office/drawing/2014/main" id="{78A9AED2-32DB-45F5-8549-E052BFE0383E}"/>
                  </a:ext>
                </a:extLst>
              </p:cNvPr>
              <p:cNvSpPr>
                <a:spLocks noChangeArrowheads="1"/>
              </p:cNvSpPr>
              <p:nvPr/>
            </p:nvSpPr>
            <p:spPr bwMode="auto">
              <a:xfrm>
                <a:off x="2431"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2" name="Rectangle 243">
                <a:extLst>
                  <a:ext uri="{FF2B5EF4-FFF2-40B4-BE49-F238E27FC236}">
                    <a16:creationId xmlns:a16="http://schemas.microsoft.com/office/drawing/2014/main" id="{D8F614CB-67EF-492C-99DD-A3481DC44DCB}"/>
                  </a:ext>
                </a:extLst>
              </p:cNvPr>
              <p:cNvSpPr>
                <a:spLocks noChangeArrowheads="1"/>
              </p:cNvSpPr>
              <p:nvPr/>
            </p:nvSpPr>
            <p:spPr bwMode="auto">
              <a:xfrm>
                <a:off x="2519"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3" name="Rectangle 244">
                <a:extLst>
                  <a:ext uri="{FF2B5EF4-FFF2-40B4-BE49-F238E27FC236}">
                    <a16:creationId xmlns:a16="http://schemas.microsoft.com/office/drawing/2014/main" id="{58636553-7765-48A1-B6B3-A694E32C5E7B}"/>
                  </a:ext>
                </a:extLst>
              </p:cNvPr>
              <p:cNvSpPr>
                <a:spLocks noChangeArrowheads="1"/>
              </p:cNvSpPr>
              <p:nvPr/>
            </p:nvSpPr>
            <p:spPr bwMode="auto">
              <a:xfrm>
                <a:off x="2550"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4" name="Rectangle 245">
                <a:extLst>
                  <a:ext uri="{FF2B5EF4-FFF2-40B4-BE49-F238E27FC236}">
                    <a16:creationId xmlns:a16="http://schemas.microsoft.com/office/drawing/2014/main" id="{2AC27E6E-1FD3-4632-8D9B-0998EB853C7C}"/>
                  </a:ext>
                </a:extLst>
              </p:cNvPr>
              <p:cNvSpPr>
                <a:spLocks noChangeArrowheads="1"/>
              </p:cNvSpPr>
              <p:nvPr/>
            </p:nvSpPr>
            <p:spPr bwMode="auto">
              <a:xfrm>
                <a:off x="2578"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5" name="Rectangle 246">
                <a:extLst>
                  <a:ext uri="{FF2B5EF4-FFF2-40B4-BE49-F238E27FC236}">
                    <a16:creationId xmlns:a16="http://schemas.microsoft.com/office/drawing/2014/main" id="{263BFEF4-A601-42B8-BB3A-B7A2192CE75C}"/>
                  </a:ext>
                </a:extLst>
              </p:cNvPr>
              <p:cNvSpPr>
                <a:spLocks noChangeArrowheads="1"/>
              </p:cNvSpPr>
              <p:nvPr/>
            </p:nvSpPr>
            <p:spPr bwMode="auto">
              <a:xfrm>
                <a:off x="2606"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6" name="Rectangle 247">
                <a:extLst>
                  <a:ext uri="{FF2B5EF4-FFF2-40B4-BE49-F238E27FC236}">
                    <a16:creationId xmlns:a16="http://schemas.microsoft.com/office/drawing/2014/main" id="{008E1CE6-7B68-498B-B587-F21EC08F0DB4}"/>
                  </a:ext>
                </a:extLst>
              </p:cNvPr>
              <p:cNvSpPr>
                <a:spLocks noChangeArrowheads="1"/>
              </p:cNvSpPr>
              <p:nvPr/>
            </p:nvSpPr>
            <p:spPr bwMode="auto">
              <a:xfrm>
                <a:off x="2637"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7" name="Rectangle 248">
                <a:extLst>
                  <a:ext uri="{FF2B5EF4-FFF2-40B4-BE49-F238E27FC236}">
                    <a16:creationId xmlns:a16="http://schemas.microsoft.com/office/drawing/2014/main" id="{33A7CE38-1D56-4456-9D5A-966A89DAD6A5}"/>
                  </a:ext>
                </a:extLst>
              </p:cNvPr>
              <p:cNvSpPr>
                <a:spLocks noChangeArrowheads="1"/>
              </p:cNvSpPr>
              <p:nvPr/>
            </p:nvSpPr>
            <p:spPr bwMode="auto">
              <a:xfrm>
                <a:off x="2665"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8" name="Rectangle 249">
                <a:extLst>
                  <a:ext uri="{FF2B5EF4-FFF2-40B4-BE49-F238E27FC236}">
                    <a16:creationId xmlns:a16="http://schemas.microsoft.com/office/drawing/2014/main" id="{17F5353C-3BBE-4E8A-AC18-FFEDC6A7D562}"/>
                  </a:ext>
                </a:extLst>
              </p:cNvPr>
              <p:cNvSpPr>
                <a:spLocks noChangeArrowheads="1"/>
              </p:cNvSpPr>
              <p:nvPr/>
            </p:nvSpPr>
            <p:spPr bwMode="auto">
              <a:xfrm>
                <a:off x="2696" y="110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9" name="Rectangle 250">
                <a:extLst>
                  <a:ext uri="{FF2B5EF4-FFF2-40B4-BE49-F238E27FC236}">
                    <a16:creationId xmlns:a16="http://schemas.microsoft.com/office/drawing/2014/main" id="{C9E29CB8-56D6-4679-946E-7B42C3126284}"/>
                  </a:ext>
                </a:extLst>
              </p:cNvPr>
              <p:cNvSpPr>
                <a:spLocks noChangeArrowheads="1"/>
              </p:cNvSpPr>
              <p:nvPr/>
            </p:nvSpPr>
            <p:spPr bwMode="auto">
              <a:xfrm>
                <a:off x="2725"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0" name="Rectangle 251">
                <a:extLst>
                  <a:ext uri="{FF2B5EF4-FFF2-40B4-BE49-F238E27FC236}">
                    <a16:creationId xmlns:a16="http://schemas.microsoft.com/office/drawing/2014/main" id="{8C8D1C47-9409-48E6-A2ED-FE6FF537C0CD}"/>
                  </a:ext>
                </a:extLst>
              </p:cNvPr>
              <p:cNvSpPr>
                <a:spLocks noChangeArrowheads="1"/>
              </p:cNvSpPr>
              <p:nvPr/>
            </p:nvSpPr>
            <p:spPr bwMode="auto">
              <a:xfrm>
                <a:off x="2753"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1" name="Rectangle 252">
                <a:extLst>
                  <a:ext uri="{FF2B5EF4-FFF2-40B4-BE49-F238E27FC236}">
                    <a16:creationId xmlns:a16="http://schemas.microsoft.com/office/drawing/2014/main" id="{6E4CAD41-AF45-48CC-BAE7-0D66723ED42B}"/>
                  </a:ext>
                </a:extLst>
              </p:cNvPr>
              <p:cNvSpPr>
                <a:spLocks noChangeArrowheads="1"/>
              </p:cNvSpPr>
              <p:nvPr/>
            </p:nvSpPr>
            <p:spPr bwMode="auto">
              <a:xfrm>
                <a:off x="2784"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2" name="Rectangle 253">
                <a:extLst>
                  <a:ext uri="{FF2B5EF4-FFF2-40B4-BE49-F238E27FC236}">
                    <a16:creationId xmlns:a16="http://schemas.microsoft.com/office/drawing/2014/main" id="{5D28DC3E-4C37-4263-A001-7D66B5D0DE77}"/>
                  </a:ext>
                </a:extLst>
              </p:cNvPr>
              <p:cNvSpPr>
                <a:spLocks noChangeArrowheads="1"/>
              </p:cNvSpPr>
              <p:nvPr/>
            </p:nvSpPr>
            <p:spPr bwMode="auto">
              <a:xfrm>
                <a:off x="2871"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3" name="Rectangle 254">
                <a:extLst>
                  <a:ext uri="{FF2B5EF4-FFF2-40B4-BE49-F238E27FC236}">
                    <a16:creationId xmlns:a16="http://schemas.microsoft.com/office/drawing/2014/main" id="{C975D636-E000-4997-B5DC-6D54E78A8AD5}"/>
                  </a:ext>
                </a:extLst>
              </p:cNvPr>
              <p:cNvSpPr>
                <a:spLocks noChangeArrowheads="1"/>
              </p:cNvSpPr>
              <p:nvPr/>
            </p:nvSpPr>
            <p:spPr bwMode="auto">
              <a:xfrm>
                <a:off x="2899"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4" name="Rectangle 255">
                <a:extLst>
                  <a:ext uri="{FF2B5EF4-FFF2-40B4-BE49-F238E27FC236}">
                    <a16:creationId xmlns:a16="http://schemas.microsoft.com/office/drawing/2014/main" id="{2ED63592-D2D8-48A6-AFD0-655D451C35A4}"/>
                  </a:ext>
                </a:extLst>
              </p:cNvPr>
              <p:cNvSpPr>
                <a:spLocks noChangeArrowheads="1"/>
              </p:cNvSpPr>
              <p:nvPr/>
            </p:nvSpPr>
            <p:spPr bwMode="auto">
              <a:xfrm>
                <a:off x="2989" y="110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5" name="Rectangle 256">
                <a:extLst>
                  <a:ext uri="{FF2B5EF4-FFF2-40B4-BE49-F238E27FC236}">
                    <a16:creationId xmlns:a16="http://schemas.microsoft.com/office/drawing/2014/main" id="{E1B49F21-12CE-4DD6-924F-969F64C8120F}"/>
                  </a:ext>
                </a:extLst>
              </p:cNvPr>
              <p:cNvSpPr>
                <a:spLocks noChangeArrowheads="1"/>
              </p:cNvSpPr>
              <p:nvPr/>
            </p:nvSpPr>
            <p:spPr bwMode="auto">
              <a:xfrm>
                <a:off x="3018"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6" name="Rectangle 257">
                <a:extLst>
                  <a:ext uri="{FF2B5EF4-FFF2-40B4-BE49-F238E27FC236}">
                    <a16:creationId xmlns:a16="http://schemas.microsoft.com/office/drawing/2014/main" id="{F81965C4-5BB7-49D4-878C-8CD426224F8B}"/>
                  </a:ext>
                </a:extLst>
              </p:cNvPr>
              <p:cNvSpPr>
                <a:spLocks noChangeArrowheads="1"/>
              </p:cNvSpPr>
              <p:nvPr/>
            </p:nvSpPr>
            <p:spPr bwMode="auto">
              <a:xfrm>
                <a:off x="3105" y="110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7" name="Rectangle 258">
                <a:extLst>
                  <a:ext uri="{FF2B5EF4-FFF2-40B4-BE49-F238E27FC236}">
                    <a16:creationId xmlns:a16="http://schemas.microsoft.com/office/drawing/2014/main" id="{FC996E13-00B5-437A-B8B3-8E345B199D3B}"/>
                  </a:ext>
                </a:extLst>
              </p:cNvPr>
              <p:cNvSpPr>
                <a:spLocks noChangeArrowheads="1"/>
              </p:cNvSpPr>
              <p:nvPr/>
            </p:nvSpPr>
            <p:spPr bwMode="auto">
              <a:xfrm>
                <a:off x="3133"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8" name="Rectangle 259">
                <a:extLst>
                  <a:ext uri="{FF2B5EF4-FFF2-40B4-BE49-F238E27FC236}">
                    <a16:creationId xmlns:a16="http://schemas.microsoft.com/office/drawing/2014/main" id="{ABF9AF6A-66F4-42FF-BD52-656B980528FC}"/>
                  </a:ext>
                </a:extLst>
              </p:cNvPr>
              <p:cNvSpPr>
                <a:spLocks noChangeArrowheads="1"/>
              </p:cNvSpPr>
              <p:nvPr/>
            </p:nvSpPr>
            <p:spPr bwMode="auto">
              <a:xfrm>
                <a:off x="3192" y="110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9" name="Rectangle 260">
                <a:extLst>
                  <a:ext uri="{FF2B5EF4-FFF2-40B4-BE49-F238E27FC236}">
                    <a16:creationId xmlns:a16="http://schemas.microsoft.com/office/drawing/2014/main" id="{27C55DE7-5CF2-4453-AE8E-9D283F25982B}"/>
                  </a:ext>
                </a:extLst>
              </p:cNvPr>
              <p:cNvSpPr>
                <a:spLocks noChangeArrowheads="1"/>
              </p:cNvSpPr>
              <p:nvPr/>
            </p:nvSpPr>
            <p:spPr bwMode="auto">
              <a:xfrm>
                <a:off x="2226"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0" name="Rectangle 261">
                <a:extLst>
                  <a:ext uri="{FF2B5EF4-FFF2-40B4-BE49-F238E27FC236}">
                    <a16:creationId xmlns:a16="http://schemas.microsoft.com/office/drawing/2014/main" id="{878AD4E6-690D-437F-9F1F-A0B4D29943CA}"/>
                  </a:ext>
                </a:extLst>
              </p:cNvPr>
              <p:cNvSpPr>
                <a:spLocks noChangeArrowheads="1"/>
              </p:cNvSpPr>
              <p:nvPr/>
            </p:nvSpPr>
            <p:spPr bwMode="auto">
              <a:xfrm>
                <a:off x="2257"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1" name="Rectangle 262">
                <a:extLst>
                  <a:ext uri="{FF2B5EF4-FFF2-40B4-BE49-F238E27FC236}">
                    <a16:creationId xmlns:a16="http://schemas.microsoft.com/office/drawing/2014/main" id="{72220636-347E-4BD9-B257-11D119C6ED51}"/>
                  </a:ext>
                </a:extLst>
              </p:cNvPr>
              <p:cNvSpPr>
                <a:spLocks noChangeArrowheads="1"/>
              </p:cNvSpPr>
              <p:nvPr/>
            </p:nvSpPr>
            <p:spPr bwMode="auto">
              <a:xfrm>
                <a:off x="2403"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2" name="Rectangle 263">
                <a:extLst>
                  <a:ext uri="{FF2B5EF4-FFF2-40B4-BE49-F238E27FC236}">
                    <a16:creationId xmlns:a16="http://schemas.microsoft.com/office/drawing/2014/main" id="{17017D31-05EA-4496-85CD-6F194F2205E6}"/>
                  </a:ext>
                </a:extLst>
              </p:cNvPr>
              <p:cNvSpPr>
                <a:spLocks noChangeArrowheads="1"/>
              </p:cNvSpPr>
              <p:nvPr/>
            </p:nvSpPr>
            <p:spPr bwMode="auto">
              <a:xfrm>
                <a:off x="2462"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3" name="Rectangle 264">
                <a:extLst>
                  <a:ext uri="{FF2B5EF4-FFF2-40B4-BE49-F238E27FC236}">
                    <a16:creationId xmlns:a16="http://schemas.microsoft.com/office/drawing/2014/main" id="{1B4EFDFB-C54F-4614-81AF-BF816894412A}"/>
                  </a:ext>
                </a:extLst>
              </p:cNvPr>
              <p:cNvSpPr>
                <a:spLocks noChangeArrowheads="1"/>
              </p:cNvSpPr>
              <p:nvPr/>
            </p:nvSpPr>
            <p:spPr bwMode="auto">
              <a:xfrm>
                <a:off x="2606"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4" name="Rectangle 265">
                <a:extLst>
                  <a:ext uri="{FF2B5EF4-FFF2-40B4-BE49-F238E27FC236}">
                    <a16:creationId xmlns:a16="http://schemas.microsoft.com/office/drawing/2014/main" id="{BD65413B-92B0-4AFC-9903-A56F676728B5}"/>
                  </a:ext>
                </a:extLst>
              </p:cNvPr>
              <p:cNvSpPr>
                <a:spLocks noChangeArrowheads="1"/>
              </p:cNvSpPr>
              <p:nvPr/>
            </p:nvSpPr>
            <p:spPr bwMode="auto">
              <a:xfrm>
                <a:off x="2665"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5" name="Rectangle 266">
                <a:extLst>
                  <a:ext uri="{FF2B5EF4-FFF2-40B4-BE49-F238E27FC236}">
                    <a16:creationId xmlns:a16="http://schemas.microsoft.com/office/drawing/2014/main" id="{BE6E5AB9-714F-4C51-B080-24B898C7550B}"/>
                  </a:ext>
                </a:extLst>
              </p:cNvPr>
              <p:cNvSpPr>
                <a:spLocks noChangeArrowheads="1"/>
              </p:cNvSpPr>
              <p:nvPr/>
            </p:nvSpPr>
            <p:spPr bwMode="auto">
              <a:xfrm>
                <a:off x="2784"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6" name="Rectangle 267">
                <a:extLst>
                  <a:ext uri="{FF2B5EF4-FFF2-40B4-BE49-F238E27FC236}">
                    <a16:creationId xmlns:a16="http://schemas.microsoft.com/office/drawing/2014/main" id="{D6101FAE-0DF1-4C01-9264-19FB62497872}"/>
                  </a:ext>
                </a:extLst>
              </p:cNvPr>
              <p:cNvSpPr>
                <a:spLocks noChangeArrowheads="1"/>
              </p:cNvSpPr>
              <p:nvPr/>
            </p:nvSpPr>
            <p:spPr bwMode="auto">
              <a:xfrm>
                <a:off x="2812"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7" name="Rectangle 268">
                <a:extLst>
                  <a:ext uri="{FF2B5EF4-FFF2-40B4-BE49-F238E27FC236}">
                    <a16:creationId xmlns:a16="http://schemas.microsoft.com/office/drawing/2014/main" id="{3D3653FA-8C4E-43B2-B9E4-E8E693CB306D}"/>
                  </a:ext>
                </a:extLst>
              </p:cNvPr>
              <p:cNvSpPr>
                <a:spLocks noChangeArrowheads="1"/>
              </p:cNvSpPr>
              <p:nvPr/>
            </p:nvSpPr>
            <p:spPr bwMode="auto">
              <a:xfrm>
                <a:off x="2871"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8" name="Rectangle 269">
                <a:extLst>
                  <a:ext uri="{FF2B5EF4-FFF2-40B4-BE49-F238E27FC236}">
                    <a16:creationId xmlns:a16="http://schemas.microsoft.com/office/drawing/2014/main" id="{0C33FFE1-607B-4217-BCD4-36372C1D90B6}"/>
                  </a:ext>
                </a:extLst>
              </p:cNvPr>
              <p:cNvSpPr>
                <a:spLocks noChangeArrowheads="1"/>
              </p:cNvSpPr>
              <p:nvPr/>
            </p:nvSpPr>
            <p:spPr bwMode="auto">
              <a:xfrm>
                <a:off x="2930"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9" name="Rectangle 270">
                <a:extLst>
                  <a:ext uri="{FF2B5EF4-FFF2-40B4-BE49-F238E27FC236}">
                    <a16:creationId xmlns:a16="http://schemas.microsoft.com/office/drawing/2014/main" id="{5C3D7222-8418-4535-A222-D8246CE323A8}"/>
                  </a:ext>
                </a:extLst>
              </p:cNvPr>
              <p:cNvSpPr>
                <a:spLocks noChangeArrowheads="1"/>
              </p:cNvSpPr>
              <p:nvPr/>
            </p:nvSpPr>
            <p:spPr bwMode="auto">
              <a:xfrm>
                <a:off x="2989"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0" name="Rectangle 271">
                <a:extLst>
                  <a:ext uri="{FF2B5EF4-FFF2-40B4-BE49-F238E27FC236}">
                    <a16:creationId xmlns:a16="http://schemas.microsoft.com/office/drawing/2014/main" id="{0971ECA6-8DEE-4178-BFD3-261D8799A362}"/>
                  </a:ext>
                </a:extLst>
              </p:cNvPr>
              <p:cNvSpPr>
                <a:spLocks noChangeArrowheads="1"/>
              </p:cNvSpPr>
              <p:nvPr/>
            </p:nvSpPr>
            <p:spPr bwMode="auto">
              <a:xfrm>
                <a:off x="3077"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1" name="Rectangle 272">
                <a:extLst>
                  <a:ext uri="{FF2B5EF4-FFF2-40B4-BE49-F238E27FC236}">
                    <a16:creationId xmlns:a16="http://schemas.microsoft.com/office/drawing/2014/main" id="{0CA39950-6AB5-4593-8863-68BD15082586}"/>
                  </a:ext>
                </a:extLst>
              </p:cNvPr>
              <p:cNvSpPr>
                <a:spLocks noChangeArrowheads="1"/>
              </p:cNvSpPr>
              <p:nvPr/>
            </p:nvSpPr>
            <p:spPr bwMode="auto">
              <a:xfrm>
                <a:off x="3105"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2" name="Rectangle 273">
                <a:extLst>
                  <a:ext uri="{FF2B5EF4-FFF2-40B4-BE49-F238E27FC236}">
                    <a16:creationId xmlns:a16="http://schemas.microsoft.com/office/drawing/2014/main" id="{B23CCEF8-3BB6-4BDF-831D-AAA3735AFDD7}"/>
                  </a:ext>
                </a:extLst>
              </p:cNvPr>
              <p:cNvSpPr>
                <a:spLocks noChangeArrowheads="1"/>
              </p:cNvSpPr>
              <p:nvPr/>
            </p:nvSpPr>
            <p:spPr bwMode="auto">
              <a:xfrm>
                <a:off x="3133"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3" name="Rectangle 274">
                <a:extLst>
                  <a:ext uri="{FF2B5EF4-FFF2-40B4-BE49-F238E27FC236}">
                    <a16:creationId xmlns:a16="http://schemas.microsoft.com/office/drawing/2014/main" id="{86B57082-51D3-4EE8-AEAE-45C64D536462}"/>
                  </a:ext>
                </a:extLst>
              </p:cNvPr>
              <p:cNvSpPr>
                <a:spLocks noChangeArrowheads="1"/>
              </p:cNvSpPr>
              <p:nvPr/>
            </p:nvSpPr>
            <p:spPr bwMode="auto">
              <a:xfrm>
                <a:off x="3192"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4" name="Rectangle 275">
                <a:extLst>
                  <a:ext uri="{FF2B5EF4-FFF2-40B4-BE49-F238E27FC236}">
                    <a16:creationId xmlns:a16="http://schemas.microsoft.com/office/drawing/2014/main" id="{6BA1C5D4-018A-4911-A373-1A3586674DC9}"/>
                  </a:ext>
                </a:extLst>
              </p:cNvPr>
              <p:cNvSpPr>
                <a:spLocks noChangeArrowheads="1"/>
              </p:cNvSpPr>
              <p:nvPr/>
            </p:nvSpPr>
            <p:spPr bwMode="auto">
              <a:xfrm>
                <a:off x="3223"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5" name="Rectangle 276">
                <a:extLst>
                  <a:ext uri="{FF2B5EF4-FFF2-40B4-BE49-F238E27FC236}">
                    <a16:creationId xmlns:a16="http://schemas.microsoft.com/office/drawing/2014/main" id="{FBAA2AE3-1DB2-4E96-B9EB-8FCAD62C64FF}"/>
                  </a:ext>
                </a:extLst>
              </p:cNvPr>
              <p:cNvSpPr>
                <a:spLocks noChangeArrowheads="1"/>
              </p:cNvSpPr>
              <p:nvPr/>
            </p:nvSpPr>
            <p:spPr bwMode="auto">
              <a:xfrm>
                <a:off x="3251" y="1137"/>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6" name="Rectangle 277">
                <a:extLst>
                  <a:ext uri="{FF2B5EF4-FFF2-40B4-BE49-F238E27FC236}">
                    <a16:creationId xmlns:a16="http://schemas.microsoft.com/office/drawing/2014/main" id="{40207A1E-57D4-4675-8310-35E2EE5B81D0}"/>
                  </a:ext>
                </a:extLst>
              </p:cNvPr>
              <p:cNvSpPr>
                <a:spLocks noChangeArrowheads="1"/>
              </p:cNvSpPr>
              <p:nvPr/>
            </p:nvSpPr>
            <p:spPr bwMode="auto">
              <a:xfrm>
                <a:off x="3339" y="1137"/>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7" name="Rectangle 278">
                <a:extLst>
                  <a:ext uri="{FF2B5EF4-FFF2-40B4-BE49-F238E27FC236}">
                    <a16:creationId xmlns:a16="http://schemas.microsoft.com/office/drawing/2014/main" id="{261A3B38-7899-4CA6-8CA7-A6625480C14E}"/>
                  </a:ext>
                </a:extLst>
              </p:cNvPr>
              <p:cNvSpPr>
                <a:spLocks noChangeArrowheads="1"/>
              </p:cNvSpPr>
              <p:nvPr/>
            </p:nvSpPr>
            <p:spPr bwMode="auto">
              <a:xfrm>
                <a:off x="3370" y="1137"/>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8" name="Rectangle 279">
                <a:extLst>
                  <a:ext uri="{FF2B5EF4-FFF2-40B4-BE49-F238E27FC236}">
                    <a16:creationId xmlns:a16="http://schemas.microsoft.com/office/drawing/2014/main" id="{9FF27783-B56E-4D65-ABE1-127E97C58FA3}"/>
                  </a:ext>
                </a:extLst>
              </p:cNvPr>
              <p:cNvSpPr>
                <a:spLocks noChangeArrowheads="1"/>
              </p:cNvSpPr>
              <p:nvPr/>
            </p:nvSpPr>
            <p:spPr bwMode="auto">
              <a:xfrm>
                <a:off x="2198"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9" name="Rectangle 280">
                <a:extLst>
                  <a:ext uri="{FF2B5EF4-FFF2-40B4-BE49-F238E27FC236}">
                    <a16:creationId xmlns:a16="http://schemas.microsoft.com/office/drawing/2014/main" id="{C64FBBFD-8C2D-4F46-A16B-B251E7BEB6D5}"/>
                  </a:ext>
                </a:extLst>
              </p:cNvPr>
              <p:cNvSpPr>
                <a:spLocks noChangeArrowheads="1"/>
              </p:cNvSpPr>
              <p:nvPr/>
            </p:nvSpPr>
            <p:spPr bwMode="auto">
              <a:xfrm>
                <a:off x="2226"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0" name="Rectangle 281">
                <a:extLst>
                  <a:ext uri="{FF2B5EF4-FFF2-40B4-BE49-F238E27FC236}">
                    <a16:creationId xmlns:a16="http://schemas.microsoft.com/office/drawing/2014/main" id="{55CBE775-605C-4BDD-AB48-678AE132953B}"/>
                  </a:ext>
                </a:extLst>
              </p:cNvPr>
              <p:cNvSpPr>
                <a:spLocks noChangeArrowheads="1"/>
              </p:cNvSpPr>
              <p:nvPr/>
            </p:nvSpPr>
            <p:spPr bwMode="auto">
              <a:xfrm>
                <a:off x="2344"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1" name="Rectangle 282">
                <a:extLst>
                  <a:ext uri="{FF2B5EF4-FFF2-40B4-BE49-F238E27FC236}">
                    <a16:creationId xmlns:a16="http://schemas.microsoft.com/office/drawing/2014/main" id="{5EAE871F-34CB-47A7-961C-BDC73953A676}"/>
                  </a:ext>
                </a:extLst>
              </p:cNvPr>
              <p:cNvSpPr>
                <a:spLocks noChangeArrowheads="1"/>
              </p:cNvSpPr>
              <p:nvPr/>
            </p:nvSpPr>
            <p:spPr bwMode="auto">
              <a:xfrm>
                <a:off x="2372"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2" name="Rectangle 283">
                <a:extLst>
                  <a:ext uri="{FF2B5EF4-FFF2-40B4-BE49-F238E27FC236}">
                    <a16:creationId xmlns:a16="http://schemas.microsoft.com/office/drawing/2014/main" id="{5D9056AD-A71C-4423-86A0-3E3FABD33F9A}"/>
                  </a:ext>
                </a:extLst>
              </p:cNvPr>
              <p:cNvSpPr>
                <a:spLocks noChangeArrowheads="1"/>
              </p:cNvSpPr>
              <p:nvPr/>
            </p:nvSpPr>
            <p:spPr bwMode="auto">
              <a:xfrm>
                <a:off x="2431"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3" name="Rectangle 284">
                <a:extLst>
                  <a:ext uri="{FF2B5EF4-FFF2-40B4-BE49-F238E27FC236}">
                    <a16:creationId xmlns:a16="http://schemas.microsoft.com/office/drawing/2014/main" id="{41077E5D-9921-4CC7-9A3E-5884953F34E1}"/>
                  </a:ext>
                </a:extLst>
              </p:cNvPr>
              <p:cNvSpPr>
                <a:spLocks noChangeArrowheads="1"/>
              </p:cNvSpPr>
              <p:nvPr/>
            </p:nvSpPr>
            <p:spPr bwMode="auto">
              <a:xfrm>
                <a:off x="2462"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4" name="Rectangle 285">
                <a:extLst>
                  <a:ext uri="{FF2B5EF4-FFF2-40B4-BE49-F238E27FC236}">
                    <a16:creationId xmlns:a16="http://schemas.microsoft.com/office/drawing/2014/main" id="{FE30D4FF-98C4-43DA-ADF8-75CB05C0AC75}"/>
                  </a:ext>
                </a:extLst>
              </p:cNvPr>
              <p:cNvSpPr>
                <a:spLocks noChangeArrowheads="1"/>
              </p:cNvSpPr>
              <p:nvPr/>
            </p:nvSpPr>
            <p:spPr bwMode="auto">
              <a:xfrm>
                <a:off x="2519"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5" name="Rectangle 286">
                <a:extLst>
                  <a:ext uri="{FF2B5EF4-FFF2-40B4-BE49-F238E27FC236}">
                    <a16:creationId xmlns:a16="http://schemas.microsoft.com/office/drawing/2014/main" id="{3DF9B6A1-6E05-45D1-B087-B383963BBE97}"/>
                  </a:ext>
                </a:extLst>
              </p:cNvPr>
              <p:cNvSpPr>
                <a:spLocks noChangeArrowheads="1"/>
              </p:cNvSpPr>
              <p:nvPr/>
            </p:nvSpPr>
            <p:spPr bwMode="auto">
              <a:xfrm>
                <a:off x="2550"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6" name="Rectangle 287">
                <a:extLst>
                  <a:ext uri="{FF2B5EF4-FFF2-40B4-BE49-F238E27FC236}">
                    <a16:creationId xmlns:a16="http://schemas.microsoft.com/office/drawing/2014/main" id="{EDB525CB-FDB9-4D2C-B626-50F4A1F037DD}"/>
                  </a:ext>
                </a:extLst>
              </p:cNvPr>
              <p:cNvSpPr>
                <a:spLocks noChangeArrowheads="1"/>
              </p:cNvSpPr>
              <p:nvPr/>
            </p:nvSpPr>
            <p:spPr bwMode="auto">
              <a:xfrm>
                <a:off x="2606"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7" name="Rectangle 288">
                <a:extLst>
                  <a:ext uri="{FF2B5EF4-FFF2-40B4-BE49-F238E27FC236}">
                    <a16:creationId xmlns:a16="http://schemas.microsoft.com/office/drawing/2014/main" id="{F8B17249-7A6C-4B17-9183-5F3B3FB3633D}"/>
                  </a:ext>
                </a:extLst>
              </p:cNvPr>
              <p:cNvSpPr>
                <a:spLocks noChangeArrowheads="1"/>
              </p:cNvSpPr>
              <p:nvPr/>
            </p:nvSpPr>
            <p:spPr bwMode="auto">
              <a:xfrm>
                <a:off x="2696"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8" name="Rectangle 289">
                <a:extLst>
                  <a:ext uri="{FF2B5EF4-FFF2-40B4-BE49-F238E27FC236}">
                    <a16:creationId xmlns:a16="http://schemas.microsoft.com/office/drawing/2014/main" id="{97ADFF1C-F437-4761-924E-5F87AF60BFDD}"/>
                  </a:ext>
                </a:extLst>
              </p:cNvPr>
              <p:cNvSpPr>
                <a:spLocks noChangeArrowheads="1"/>
              </p:cNvSpPr>
              <p:nvPr/>
            </p:nvSpPr>
            <p:spPr bwMode="auto">
              <a:xfrm>
                <a:off x="2725"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9" name="Rectangle 290">
                <a:extLst>
                  <a:ext uri="{FF2B5EF4-FFF2-40B4-BE49-F238E27FC236}">
                    <a16:creationId xmlns:a16="http://schemas.microsoft.com/office/drawing/2014/main" id="{2AD06A00-EA7E-4A93-89A6-0353F7E77311}"/>
                  </a:ext>
                </a:extLst>
              </p:cNvPr>
              <p:cNvSpPr>
                <a:spLocks noChangeArrowheads="1"/>
              </p:cNvSpPr>
              <p:nvPr/>
            </p:nvSpPr>
            <p:spPr bwMode="auto">
              <a:xfrm>
                <a:off x="2753"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0" name="Rectangle 291">
                <a:extLst>
                  <a:ext uri="{FF2B5EF4-FFF2-40B4-BE49-F238E27FC236}">
                    <a16:creationId xmlns:a16="http://schemas.microsoft.com/office/drawing/2014/main" id="{BE0CAFE4-AF33-416D-B8C0-BD31522DF0C2}"/>
                  </a:ext>
                </a:extLst>
              </p:cNvPr>
              <p:cNvSpPr>
                <a:spLocks noChangeArrowheads="1"/>
              </p:cNvSpPr>
              <p:nvPr/>
            </p:nvSpPr>
            <p:spPr bwMode="auto">
              <a:xfrm>
                <a:off x="2812"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1" name="Rectangle 292">
                <a:extLst>
                  <a:ext uri="{FF2B5EF4-FFF2-40B4-BE49-F238E27FC236}">
                    <a16:creationId xmlns:a16="http://schemas.microsoft.com/office/drawing/2014/main" id="{58BE8CAD-E26C-48D1-965D-61C80A10D56B}"/>
                  </a:ext>
                </a:extLst>
              </p:cNvPr>
              <p:cNvSpPr>
                <a:spLocks noChangeArrowheads="1"/>
              </p:cNvSpPr>
              <p:nvPr/>
            </p:nvSpPr>
            <p:spPr bwMode="auto">
              <a:xfrm>
                <a:off x="2958"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2" name="Rectangle 293">
                <a:extLst>
                  <a:ext uri="{FF2B5EF4-FFF2-40B4-BE49-F238E27FC236}">
                    <a16:creationId xmlns:a16="http://schemas.microsoft.com/office/drawing/2014/main" id="{46BE547B-6B5E-48B0-BFA0-33D3E3F9FB59}"/>
                  </a:ext>
                </a:extLst>
              </p:cNvPr>
              <p:cNvSpPr>
                <a:spLocks noChangeArrowheads="1"/>
              </p:cNvSpPr>
              <p:nvPr/>
            </p:nvSpPr>
            <p:spPr bwMode="auto">
              <a:xfrm>
                <a:off x="2989"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3" name="Rectangle 294">
                <a:extLst>
                  <a:ext uri="{FF2B5EF4-FFF2-40B4-BE49-F238E27FC236}">
                    <a16:creationId xmlns:a16="http://schemas.microsoft.com/office/drawing/2014/main" id="{1B3D1339-A918-4AF6-BC1A-00FA25AAF313}"/>
                  </a:ext>
                </a:extLst>
              </p:cNvPr>
              <p:cNvSpPr>
                <a:spLocks noChangeArrowheads="1"/>
              </p:cNvSpPr>
              <p:nvPr/>
            </p:nvSpPr>
            <p:spPr bwMode="auto">
              <a:xfrm>
                <a:off x="3223" y="1165"/>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4" name="Rectangle 295">
                <a:extLst>
                  <a:ext uri="{FF2B5EF4-FFF2-40B4-BE49-F238E27FC236}">
                    <a16:creationId xmlns:a16="http://schemas.microsoft.com/office/drawing/2014/main" id="{065D109E-F4E8-406C-8F38-147C82DB3E24}"/>
                  </a:ext>
                </a:extLst>
              </p:cNvPr>
              <p:cNvSpPr>
                <a:spLocks noChangeArrowheads="1"/>
              </p:cNvSpPr>
              <p:nvPr/>
            </p:nvSpPr>
            <p:spPr bwMode="auto">
              <a:xfrm>
                <a:off x="3251" y="1165"/>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5" name="Rectangle 296">
                <a:extLst>
                  <a:ext uri="{FF2B5EF4-FFF2-40B4-BE49-F238E27FC236}">
                    <a16:creationId xmlns:a16="http://schemas.microsoft.com/office/drawing/2014/main" id="{076975F0-C3C0-42CC-A711-D0574802FD03}"/>
                  </a:ext>
                </a:extLst>
              </p:cNvPr>
              <p:cNvSpPr>
                <a:spLocks noChangeArrowheads="1"/>
              </p:cNvSpPr>
              <p:nvPr/>
            </p:nvSpPr>
            <p:spPr bwMode="auto">
              <a:xfrm>
                <a:off x="3280" y="1165"/>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6" name="Rectangle 297">
                <a:extLst>
                  <a:ext uri="{FF2B5EF4-FFF2-40B4-BE49-F238E27FC236}">
                    <a16:creationId xmlns:a16="http://schemas.microsoft.com/office/drawing/2014/main" id="{AB6CEED4-2E99-4A94-8E02-A996FCDAD310}"/>
                  </a:ext>
                </a:extLst>
              </p:cNvPr>
              <p:cNvSpPr>
                <a:spLocks noChangeArrowheads="1"/>
              </p:cNvSpPr>
              <p:nvPr/>
            </p:nvSpPr>
            <p:spPr bwMode="auto">
              <a:xfrm>
                <a:off x="2198"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7" name="Rectangle 298">
                <a:extLst>
                  <a:ext uri="{FF2B5EF4-FFF2-40B4-BE49-F238E27FC236}">
                    <a16:creationId xmlns:a16="http://schemas.microsoft.com/office/drawing/2014/main" id="{F7450998-34FC-4C4D-AFDC-FF205AC94561}"/>
                  </a:ext>
                </a:extLst>
              </p:cNvPr>
              <p:cNvSpPr>
                <a:spLocks noChangeArrowheads="1"/>
              </p:cNvSpPr>
              <p:nvPr/>
            </p:nvSpPr>
            <p:spPr bwMode="auto">
              <a:xfrm>
                <a:off x="2226"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8" name="Rectangle 299">
                <a:extLst>
                  <a:ext uri="{FF2B5EF4-FFF2-40B4-BE49-F238E27FC236}">
                    <a16:creationId xmlns:a16="http://schemas.microsoft.com/office/drawing/2014/main" id="{C8645B26-C7D8-4AEF-BAC1-72DE84B8A420}"/>
                  </a:ext>
                </a:extLst>
              </p:cNvPr>
              <p:cNvSpPr>
                <a:spLocks noChangeArrowheads="1"/>
              </p:cNvSpPr>
              <p:nvPr/>
            </p:nvSpPr>
            <p:spPr bwMode="auto">
              <a:xfrm>
                <a:off x="2285"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9" name="Rectangle 300">
                <a:extLst>
                  <a:ext uri="{FF2B5EF4-FFF2-40B4-BE49-F238E27FC236}">
                    <a16:creationId xmlns:a16="http://schemas.microsoft.com/office/drawing/2014/main" id="{59D294A3-BD8A-4BE3-BC53-EFCBC6AEB7D4}"/>
                  </a:ext>
                </a:extLst>
              </p:cNvPr>
              <p:cNvSpPr>
                <a:spLocks noChangeArrowheads="1"/>
              </p:cNvSpPr>
              <p:nvPr/>
            </p:nvSpPr>
            <p:spPr bwMode="auto">
              <a:xfrm>
                <a:off x="2316"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0" name="Rectangle 301">
                <a:extLst>
                  <a:ext uri="{FF2B5EF4-FFF2-40B4-BE49-F238E27FC236}">
                    <a16:creationId xmlns:a16="http://schemas.microsoft.com/office/drawing/2014/main" id="{F6B22F39-32E3-4E12-810A-139F4A595DDA}"/>
                  </a:ext>
                </a:extLst>
              </p:cNvPr>
              <p:cNvSpPr>
                <a:spLocks noChangeArrowheads="1"/>
              </p:cNvSpPr>
              <p:nvPr/>
            </p:nvSpPr>
            <p:spPr bwMode="auto">
              <a:xfrm>
                <a:off x="240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1" name="Rectangle 302">
                <a:extLst>
                  <a:ext uri="{FF2B5EF4-FFF2-40B4-BE49-F238E27FC236}">
                    <a16:creationId xmlns:a16="http://schemas.microsoft.com/office/drawing/2014/main" id="{FCB553C7-8356-4D5F-850E-DE1428D3B83F}"/>
                  </a:ext>
                </a:extLst>
              </p:cNvPr>
              <p:cNvSpPr>
                <a:spLocks noChangeArrowheads="1"/>
              </p:cNvSpPr>
              <p:nvPr/>
            </p:nvSpPr>
            <p:spPr bwMode="auto">
              <a:xfrm>
                <a:off x="2519"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2" name="Rectangle 303">
                <a:extLst>
                  <a:ext uri="{FF2B5EF4-FFF2-40B4-BE49-F238E27FC236}">
                    <a16:creationId xmlns:a16="http://schemas.microsoft.com/office/drawing/2014/main" id="{5A25D1FB-5D3D-43CB-A379-DCE2994F8402}"/>
                  </a:ext>
                </a:extLst>
              </p:cNvPr>
              <p:cNvSpPr>
                <a:spLocks noChangeArrowheads="1"/>
              </p:cNvSpPr>
              <p:nvPr/>
            </p:nvSpPr>
            <p:spPr bwMode="auto">
              <a:xfrm>
                <a:off x="2637"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3" name="Rectangle 304">
                <a:extLst>
                  <a:ext uri="{FF2B5EF4-FFF2-40B4-BE49-F238E27FC236}">
                    <a16:creationId xmlns:a16="http://schemas.microsoft.com/office/drawing/2014/main" id="{FC6B762C-0749-48B2-AEF1-2C822F74E5B7}"/>
                  </a:ext>
                </a:extLst>
              </p:cNvPr>
              <p:cNvSpPr>
                <a:spLocks noChangeArrowheads="1"/>
              </p:cNvSpPr>
              <p:nvPr/>
            </p:nvSpPr>
            <p:spPr bwMode="auto">
              <a:xfrm>
                <a:off x="2725"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4" name="Rectangle 305">
                <a:extLst>
                  <a:ext uri="{FF2B5EF4-FFF2-40B4-BE49-F238E27FC236}">
                    <a16:creationId xmlns:a16="http://schemas.microsoft.com/office/drawing/2014/main" id="{DA94C486-5BC5-4716-B56F-963F24036E3D}"/>
                  </a:ext>
                </a:extLst>
              </p:cNvPr>
              <p:cNvSpPr>
                <a:spLocks noChangeArrowheads="1"/>
              </p:cNvSpPr>
              <p:nvPr/>
            </p:nvSpPr>
            <p:spPr bwMode="auto">
              <a:xfrm>
                <a:off x="2753"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5" name="Rectangle 306">
                <a:extLst>
                  <a:ext uri="{FF2B5EF4-FFF2-40B4-BE49-F238E27FC236}">
                    <a16:creationId xmlns:a16="http://schemas.microsoft.com/office/drawing/2014/main" id="{5F1903BF-1BE0-4510-A47B-0493AE2BB31E}"/>
                  </a:ext>
                </a:extLst>
              </p:cNvPr>
              <p:cNvSpPr>
                <a:spLocks noChangeArrowheads="1"/>
              </p:cNvSpPr>
              <p:nvPr/>
            </p:nvSpPr>
            <p:spPr bwMode="auto">
              <a:xfrm>
                <a:off x="284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6" name="Rectangle 307">
                <a:extLst>
                  <a:ext uri="{FF2B5EF4-FFF2-40B4-BE49-F238E27FC236}">
                    <a16:creationId xmlns:a16="http://schemas.microsoft.com/office/drawing/2014/main" id="{7D5C34AA-F89E-47DC-913C-D57D4FF58A86}"/>
                  </a:ext>
                </a:extLst>
              </p:cNvPr>
              <p:cNvSpPr>
                <a:spLocks noChangeArrowheads="1"/>
              </p:cNvSpPr>
              <p:nvPr/>
            </p:nvSpPr>
            <p:spPr bwMode="auto">
              <a:xfrm>
                <a:off x="2871"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7" name="Rectangle 308">
                <a:extLst>
                  <a:ext uri="{FF2B5EF4-FFF2-40B4-BE49-F238E27FC236}">
                    <a16:creationId xmlns:a16="http://schemas.microsoft.com/office/drawing/2014/main" id="{C0093BBF-4BDD-4B17-A7C7-73AA14281569}"/>
                  </a:ext>
                </a:extLst>
              </p:cNvPr>
              <p:cNvSpPr>
                <a:spLocks noChangeArrowheads="1"/>
              </p:cNvSpPr>
              <p:nvPr/>
            </p:nvSpPr>
            <p:spPr bwMode="auto">
              <a:xfrm>
                <a:off x="2899"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8" name="Rectangle 309">
                <a:extLst>
                  <a:ext uri="{FF2B5EF4-FFF2-40B4-BE49-F238E27FC236}">
                    <a16:creationId xmlns:a16="http://schemas.microsoft.com/office/drawing/2014/main" id="{71AB9006-A274-4E79-84DC-3B3F73F0F31A}"/>
                  </a:ext>
                </a:extLst>
              </p:cNvPr>
              <p:cNvSpPr>
                <a:spLocks noChangeArrowheads="1"/>
              </p:cNvSpPr>
              <p:nvPr/>
            </p:nvSpPr>
            <p:spPr bwMode="auto">
              <a:xfrm>
                <a:off x="2958"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9" name="Rectangle 310">
                <a:extLst>
                  <a:ext uri="{FF2B5EF4-FFF2-40B4-BE49-F238E27FC236}">
                    <a16:creationId xmlns:a16="http://schemas.microsoft.com/office/drawing/2014/main" id="{96BA1E2D-9DE8-4E59-BD8D-62BB123D5DF0}"/>
                  </a:ext>
                </a:extLst>
              </p:cNvPr>
              <p:cNvSpPr>
                <a:spLocks noChangeArrowheads="1"/>
              </p:cNvSpPr>
              <p:nvPr/>
            </p:nvSpPr>
            <p:spPr bwMode="auto">
              <a:xfrm>
                <a:off x="3018"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0" name="Rectangle 311">
                <a:extLst>
                  <a:ext uri="{FF2B5EF4-FFF2-40B4-BE49-F238E27FC236}">
                    <a16:creationId xmlns:a16="http://schemas.microsoft.com/office/drawing/2014/main" id="{DFA3B72D-843D-4252-A907-68ACBCB9F3AE}"/>
                  </a:ext>
                </a:extLst>
              </p:cNvPr>
              <p:cNvSpPr>
                <a:spLocks noChangeArrowheads="1"/>
              </p:cNvSpPr>
              <p:nvPr/>
            </p:nvSpPr>
            <p:spPr bwMode="auto">
              <a:xfrm>
                <a:off x="3133"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1" name="Rectangle 312">
                <a:extLst>
                  <a:ext uri="{FF2B5EF4-FFF2-40B4-BE49-F238E27FC236}">
                    <a16:creationId xmlns:a16="http://schemas.microsoft.com/office/drawing/2014/main" id="{129B3671-0182-4DA5-B8A5-E53C6FB2AD42}"/>
                  </a:ext>
                </a:extLst>
              </p:cNvPr>
              <p:cNvSpPr>
                <a:spLocks noChangeArrowheads="1"/>
              </p:cNvSpPr>
              <p:nvPr/>
            </p:nvSpPr>
            <p:spPr bwMode="auto">
              <a:xfrm>
                <a:off x="3164"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2" name="Rectangle 313">
                <a:extLst>
                  <a:ext uri="{FF2B5EF4-FFF2-40B4-BE49-F238E27FC236}">
                    <a16:creationId xmlns:a16="http://schemas.microsoft.com/office/drawing/2014/main" id="{61A0FC52-6FAC-4955-AD47-14DE00131DD9}"/>
                  </a:ext>
                </a:extLst>
              </p:cNvPr>
              <p:cNvSpPr>
                <a:spLocks noChangeArrowheads="1"/>
              </p:cNvSpPr>
              <p:nvPr/>
            </p:nvSpPr>
            <p:spPr bwMode="auto">
              <a:xfrm>
                <a:off x="3223"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3" name="Rectangle 314">
                <a:extLst>
                  <a:ext uri="{FF2B5EF4-FFF2-40B4-BE49-F238E27FC236}">
                    <a16:creationId xmlns:a16="http://schemas.microsoft.com/office/drawing/2014/main" id="{2BB95DCC-3FF7-4078-92A5-67EF4B82C34C}"/>
                  </a:ext>
                </a:extLst>
              </p:cNvPr>
              <p:cNvSpPr>
                <a:spLocks noChangeArrowheads="1"/>
              </p:cNvSpPr>
              <p:nvPr/>
            </p:nvSpPr>
            <p:spPr bwMode="auto">
              <a:xfrm>
                <a:off x="3251" y="1196"/>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4" name="Rectangle 315">
                <a:extLst>
                  <a:ext uri="{FF2B5EF4-FFF2-40B4-BE49-F238E27FC236}">
                    <a16:creationId xmlns:a16="http://schemas.microsoft.com/office/drawing/2014/main" id="{9A273238-59C3-4E23-83C0-90E37E3378B5}"/>
                  </a:ext>
                </a:extLst>
              </p:cNvPr>
              <p:cNvSpPr>
                <a:spLocks noChangeArrowheads="1"/>
              </p:cNvSpPr>
              <p:nvPr/>
            </p:nvSpPr>
            <p:spPr bwMode="auto">
              <a:xfrm>
                <a:off x="3280" y="1196"/>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5" name="Rectangle 316">
                <a:extLst>
                  <a:ext uri="{FF2B5EF4-FFF2-40B4-BE49-F238E27FC236}">
                    <a16:creationId xmlns:a16="http://schemas.microsoft.com/office/drawing/2014/main" id="{2F1BB560-9FA9-4E25-A046-986A15E89700}"/>
                  </a:ext>
                </a:extLst>
              </p:cNvPr>
              <p:cNvSpPr>
                <a:spLocks noChangeArrowheads="1"/>
              </p:cNvSpPr>
              <p:nvPr/>
            </p:nvSpPr>
            <p:spPr bwMode="auto">
              <a:xfrm>
                <a:off x="3311"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6" name="Rectangle 317">
                <a:extLst>
                  <a:ext uri="{FF2B5EF4-FFF2-40B4-BE49-F238E27FC236}">
                    <a16:creationId xmlns:a16="http://schemas.microsoft.com/office/drawing/2014/main" id="{FF201026-7721-4E8D-A792-CBEF260DB802}"/>
                  </a:ext>
                </a:extLst>
              </p:cNvPr>
              <p:cNvSpPr>
                <a:spLocks noChangeArrowheads="1"/>
              </p:cNvSpPr>
              <p:nvPr/>
            </p:nvSpPr>
            <p:spPr bwMode="auto">
              <a:xfrm>
                <a:off x="3370" y="1196"/>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7" name="Rectangle 318">
                <a:extLst>
                  <a:ext uri="{FF2B5EF4-FFF2-40B4-BE49-F238E27FC236}">
                    <a16:creationId xmlns:a16="http://schemas.microsoft.com/office/drawing/2014/main" id="{07D29634-A9E7-4AC2-99C1-AE43740B0A5F}"/>
                  </a:ext>
                </a:extLst>
              </p:cNvPr>
              <p:cNvSpPr>
                <a:spLocks noChangeArrowheads="1"/>
              </p:cNvSpPr>
              <p:nvPr/>
            </p:nvSpPr>
            <p:spPr bwMode="auto">
              <a:xfrm>
                <a:off x="2198"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8" name="Rectangle 319">
                <a:extLst>
                  <a:ext uri="{FF2B5EF4-FFF2-40B4-BE49-F238E27FC236}">
                    <a16:creationId xmlns:a16="http://schemas.microsoft.com/office/drawing/2014/main" id="{76779D10-1352-458D-928D-E4855566F1FE}"/>
                  </a:ext>
                </a:extLst>
              </p:cNvPr>
              <p:cNvSpPr>
                <a:spLocks noChangeArrowheads="1"/>
              </p:cNvSpPr>
              <p:nvPr/>
            </p:nvSpPr>
            <p:spPr bwMode="auto">
              <a:xfrm>
                <a:off x="222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9" name="Rectangle 320">
                <a:extLst>
                  <a:ext uri="{FF2B5EF4-FFF2-40B4-BE49-F238E27FC236}">
                    <a16:creationId xmlns:a16="http://schemas.microsoft.com/office/drawing/2014/main" id="{28D950DC-330E-4E6F-B885-54C2BA30128A}"/>
                  </a:ext>
                </a:extLst>
              </p:cNvPr>
              <p:cNvSpPr>
                <a:spLocks noChangeArrowheads="1"/>
              </p:cNvSpPr>
              <p:nvPr/>
            </p:nvSpPr>
            <p:spPr bwMode="auto">
              <a:xfrm>
                <a:off x="2257"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0" name="Rectangle 321">
                <a:extLst>
                  <a:ext uri="{FF2B5EF4-FFF2-40B4-BE49-F238E27FC236}">
                    <a16:creationId xmlns:a16="http://schemas.microsoft.com/office/drawing/2014/main" id="{382C9081-810C-4381-9CC4-B18EDFB10C4B}"/>
                  </a:ext>
                </a:extLst>
              </p:cNvPr>
              <p:cNvSpPr>
                <a:spLocks noChangeArrowheads="1"/>
              </p:cNvSpPr>
              <p:nvPr/>
            </p:nvSpPr>
            <p:spPr bwMode="auto">
              <a:xfrm>
                <a:off x="2316"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1" name="Rectangle 322">
                <a:extLst>
                  <a:ext uri="{FF2B5EF4-FFF2-40B4-BE49-F238E27FC236}">
                    <a16:creationId xmlns:a16="http://schemas.microsoft.com/office/drawing/2014/main" id="{35C63F67-8857-4C31-949D-428569076175}"/>
                  </a:ext>
                </a:extLst>
              </p:cNvPr>
              <p:cNvSpPr>
                <a:spLocks noChangeArrowheads="1"/>
              </p:cNvSpPr>
              <p:nvPr/>
            </p:nvSpPr>
            <p:spPr bwMode="auto">
              <a:xfrm>
                <a:off x="234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2" name="Rectangle 323">
                <a:extLst>
                  <a:ext uri="{FF2B5EF4-FFF2-40B4-BE49-F238E27FC236}">
                    <a16:creationId xmlns:a16="http://schemas.microsoft.com/office/drawing/2014/main" id="{5C2D60CC-EA6D-433D-82CD-D2592A3EB4EB}"/>
                  </a:ext>
                </a:extLst>
              </p:cNvPr>
              <p:cNvSpPr>
                <a:spLocks noChangeArrowheads="1"/>
              </p:cNvSpPr>
              <p:nvPr/>
            </p:nvSpPr>
            <p:spPr bwMode="auto">
              <a:xfrm>
                <a:off x="2372"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3" name="Rectangle 324">
                <a:extLst>
                  <a:ext uri="{FF2B5EF4-FFF2-40B4-BE49-F238E27FC236}">
                    <a16:creationId xmlns:a16="http://schemas.microsoft.com/office/drawing/2014/main" id="{E82B58FC-116A-4A53-B2D6-0E3C3FAB3A06}"/>
                  </a:ext>
                </a:extLst>
              </p:cNvPr>
              <p:cNvSpPr>
                <a:spLocks noChangeArrowheads="1"/>
              </p:cNvSpPr>
              <p:nvPr/>
            </p:nvSpPr>
            <p:spPr bwMode="auto">
              <a:xfrm>
                <a:off x="2431"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4" name="Rectangle 325">
                <a:extLst>
                  <a:ext uri="{FF2B5EF4-FFF2-40B4-BE49-F238E27FC236}">
                    <a16:creationId xmlns:a16="http://schemas.microsoft.com/office/drawing/2014/main" id="{4AA9905D-F5CF-4BBF-BE38-6298C0187FB0}"/>
                  </a:ext>
                </a:extLst>
              </p:cNvPr>
              <p:cNvSpPr>
                <a:spLocks noChangeArrowheads="1"/>
              </p:cNvSpPr>
              <p:nvPr/>
            </p:nvSpPr>
            <p:spPr bwMode="auto">
              <a:xfrm>
                <a:off x="2491"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5" name="Rectangle 326">
                <a:extLst>
                  <a:ext uri="{FF2B5EF4-FFF2-40B4-BE49-F238E27FC236}">
                    <a16:creationId xmlns:a16="http://schemas.microsoft.com/office/drawing/2014/main" id="{A9B84F84-1D2A-4B17-A907-48342A83A6FE}"/>
                  </a:ext>
                </a:extLst>
              </p:cNvPr>
              <p:cNvSpPr>
                <a:spLocks noChangeArrowheads="1"/>
              </p:cNvSpPr>
              <p:nvPr/>
            </p:nvSpPr>
            <p:spPr bwMode="auto">
              <a:xfrm>
                <a:off x="2519"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6" name="Rectangle 327">
                <a:extLst>
                  <a:ext uri="{FF2B5EF4-FFF2-40B4-BE49-F238E27FC236}">
                    <a16:creationId xmlns:a16="http://schemas.microsoft.com/office/drawing/2014/main" id="{E8C11474-FEA6-4DA5-BD56-BE49F44B7EFF}"/>
                  </a:ext>
                </a:extLst>
              </p:cNvPr>
              <p:cNvSpPr>
                <a:spLocks noChangeArrowheads="1"/>
              </p:cNvSpPr>
              <p:nvPr/>
            </p:nvSpPr>
            <p:spPr bwMode="auto">
              <a:xfrm>
                <a:off x="2550"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7" name="Rectangle 328">
                <a:extLst>
                  <a:ext uri="{FF2B5EF4-FFF2-40B4-BE49-F238E27FC236}">
                    <a16:creationId xmlns:a16="http://schemas.microsoft.com/office/drawing/2014/main" id="{07D87CAD-DD72-47B8-BFBE-4549E0DFFDDD}"/>
                  </a:ext>
                </a:extLst>
              </p:cNvPr>
              <p:cNvSpPr>
                <a:spLocks noChangeArrowheads="1"/>
              </p:cNvSpPr>
              <p:nvPr/>
            </p:nvSpPr>
            <p:spPr bwMode="auto">
              <a:xfrm>
                <a:off x="2578"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8" name="Rectangle 329">
                <a:extLst>
                  <a:ext uri="{FF2B5EF4-FFF2-40B4-BE49-F238E27FC236}">
                    <a16:creationId xmlns:a16="http://schemas.microsoft.com/office/drawing/2014/main" id="{E13C1074-B96D-4D0C-80B7-F6742427BED4}"/>
                  </a:ext>
                </a:extLst>
              </p:cNvPr>
              <p:cNvSpPr>
                <a:spLocks noChangeArrowheads="1"/>
              </p:cNvSpPr>
              <p:nvPr/>
            </p:nvSpPr>
            <p:spPr bwMode="auto">
              <a:xfrm>
                <a:off x="260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9" name="Rectangle 330">
                <a:extLst>
                  <a:ext uri="{FF2B5EF4-FFF2-40B4-BE49-F238E27FC236}">
                    <a16:creationId xmlns:a16="http://schemas.microsoft.com/office/drawing/2014/main" id="{8AC5E9BA-2CB5-48E1-A783-64AD41DB6510}"/>
                  </a:ext>
                </a:extLst>
              </p:cNvPr>
              <p:cNvSpPr>
                <a:spLocks noChangeArrowheads="1"/>
              </p:cNvSpPr>
              <p:nvPr/>
            </p:nvSpPr>
            <p:spPr bwMode="auto">
              <a:xfrm>
                <a:off x="2696" y="1224"/>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0" name="Rectangle 331">
                <a:extLst>
                  <a:ext uri="{FF2B5EF4-FFF2-40B4-BE49-F238E27FC236}">
                    <a16:creationId xmlns:a16="http://schemas.microsoft.com/office/drawing/2014/main" id="{40FE6E04-376B-4195-8121-524D28F34A77}"/>
                  </a:ext>
                </a:extLst>
              </p:cNvPr>
              <p:cNvSpPr>
                <a:spLocks noChangeArrowheads="1"/>
              </p:cNvSpPr>
              <p:nvPr/>
            </p:nvSpPr>
            <p:spPr bwMode="auto">
              <a:xfrm>
                <a:off x="2753"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1" name="Rectangle 332">
                <a:extLst>
                  <a:ext uri="{FF2B5EF4-FFF2-40B4-BE49-F238E27FC236}">
                    <a16:creationId xmlns:a16="http://schemas.microsoft.com/office/drawing/2014/main" id="{BEC68DD7-3235-4F35-9F0E-9353A17755B0}"/>
                  </a:ext>
                </a:extLst>
              </p:cNvPr>
              <p:cNvSpPr>
                <a:spLocks noChangeArrowheads="1"/>
              </p:cNvSpPr>
              <p:nvPr/>
            </p:nvSpPr>
            <p:spPr bwMode="auto">
              <a:xfrm>
                <a:off x="278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2" name="Rectangle 333">
                <a:extLst>
                  <a:ext uri="{FF2B5EF4-FFF2-40B4-BE49-F238E27FC236}">
                    <a16:creationId xmlns:a16="http://schemas.microsoft.com/office/drawing/2014/main" id="{F4F4B9CA-72B4-4EB9-8B17-3BB933E1E331}"/>
                  </a:ext>
                </a:extLst>
              </p:cNvPr>
              <p:cNvSpPr>
                <a:spLocks noChangeArrowheads="1"/>
              </p:cNvSpPr>
              <p:nvPr/>
            </p:nvSpPr>
            <p:spPr bwMode="auto">
              <a:xfrm>
                <a:off x="2843"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3" name="Rectangle 334">
                <a:extLst>
                  <a:ext uri="{FF2B5EF4-FFF2-40B4-BE49-F238E27FC236}">
                    <a16:creationId xmlns:a16="http://schemas.microsoft.com/office/drawing/2014/main" id="{FE52ED9C-AA5E-407D-B686-2524C2F5B287}"/>
                  </a:ext>
                </a:extLst>
              </p:cNvPr>
              <p:cNvSpPr>
                <a:spLocks noChangeArrowheads="1"/>
              </p:cNvSpPr>
              <p:nvPr/>
            </p:nvSpPr>
            <p:spPr bwMode="auto">
              <a:xfrm>
                <a:off x="2930"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4" name="Rectangle 335">
                <a:extLst>
                  <a:ext uri="{FF2B5EF4-FFF2-40B4-BE49-F238E27FC236}">
                    <a16:creationId xmlns:a16="http://schemas.microsoft.com/office/drawing/2014/main" id="{179B6B29-45A5-474A-AF49-DC12A653F98B}"/>
                  </a:ext>
                </a:extLst>
              </p:cNvPr>
              <p:cNvSpPr>
                <a:spLocks noChangeArrowheads="1"/>
              </p:cNvSpPr>
              <p:nvPr/>
            </p:nvSpPr>
            <p:spPr bwMode="auto">
              <a:xfrm>
                <a:off x="2958"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5" name="Rectangle 336">
                <a:extLst>
                  <a:ext uri="{FF2B5EF4-FFF2-40B4-BE49-F238E27FC236}">
                    <a16:creationId xmlns:a16="http://schemas.microsoft.com/office/drawing/2014/main" id="{CA5BB3ED-BA75-411B-B0E2-A48009BD0310}"/>
                  </a:ext>
                </a:extLst>
              </p:cNvPr>
              <p:cNvSpPr>
                <a:spLocks noChangeArrowheads="1"/>
              </p:cNvSpPr>
              <p:nvPr/>
            </p:nvSpPr>
            <p:spPr bwMode="auto">
              <a:xfrm>
                <a:off x="3046"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6" name="Rectangle 337">
                <a:extLst>
                  <a:ext uri="{FF2B5EF4-FFF2-40B4-BE49-F238E27FC236}">
                    <a16:creationId xmlns:a16="http://schemas.microsoft.com/office/drawing/2014/main" id="{449BA1FF-4605-4802-A355-1D40C361199D}"/>
                  </a:ext>
                </a:extLst>
              </p:cNvPr>
              <p:cNvSpPr>
                <a:spLocks noChangeArrowheads="1"/>
              </p:cNvSpPr>
              <p:nvPr/>
            </p:nvSpPr>
            <p:spPr bwMode="auto">
              <a:xfrm>
                <a:off x="3133"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7" name="Rectangle 338">
                <a:extLst>
                  <a:ext uri="{FF2B5EF4-FFF2-40B4-BE49-F238E27FC236}">
                    <a16:creationId xmlns:a16="http://schemas.microsoft.com/office/drawing/2014/main" id="{24D2C3D8-2F29-456A-9691-053A8477302E}"/>
                  </a:ext>
                </a:extLst>
              </p:cNvPr>
              <p:cNvSpPr>
                <a:spLocks noChangeArrowheads="1"/>
              </p:cNvSpPr>
              <p:nvPr/>
            </p:nvSpPr>
            <p:spPr bwMode="auto">
              <a:xfrm>
                <a:off x="3164"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8" name="Rectangle 339">
                <a:extLst>
                  <a:ext uri="{FF2B5EF4-FFF2-40B4-BE49-F238E27FC236}">
                    <a16:creationId xmlns:a16="http://schemas.microsoft.com/office/drawing/2014/main" id="{5461EDA5-96F1-40C5-8C90-1093069601F7}"/>
                  </a:ext>
                </a:extLst>
              </p:cNvPr>
              <p:cNvSpPr>
                <a:spLocks noChangeArrowheads="1"/>
              </p:cNvSpPr>
              <p:nvPr/>
            </p:nvSpPr>
            <p:spPr bwMode="auto">
              <a:xfrm>
                <a:off x="3223"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9" name="Rectangle 340">
                <a:extLst>
                  <a:ext uri="{FF2B5EF4-FFF2-40B4-BE49-F238E27FC236}">
                    <a16:creationId xmlns:a16="http://schemas.microsoft.com/office/drawing/2014/main" id="{41FDE554-EA31-49B2-B73F-D5F50610F181}"/>
                  </a:ext>
                </a:extLst>
              </p:cNvPr>
              <p:cNvSpPr>
                <a:spLocks noChangeArrowheads="1"/>
              </p:cNvSpPr>
              <p:nvPr/>
            </p:nvSpPr>
            <p:spPr bwMode="auto">
              <a:xfrm>
                <a:off x="3280" y="1224"/>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0" name="Rectangle 341">
                <a:extLst>
                  <a:ext uri="{FF2B5EF4-FFF2-40B4-BE49-F238E27FC236}">
                    <a16:creationId xmlns:a16="http://schemas.microsoft.com/office/drawing/2014/main" id="{89AE5151-9819-4BA6-B2E1-75B50E206FD6}"/>
                  </a:ext>
                </a:extLst>
              </p:cNvPr>
              <p:cNvSpPr>
                <a:spLocks noChangeArrowheads="1"/>
              </p:cNvSpPr>
              <p:nvPr/>
            </p:nvSpPr>
            <p:spPr bwMode="auto">
              <a:xfrm>
                <a:off x="3311" y="1224"/>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1" name="Rectangle 342">
                <a:extLst>
                  <a:ext uri="{FF2B5EF4-FFF2-40B4-BE49-F238E27FC236}">
                    <a16:creationId xmlns:a16="http://schemas.microsoft.com/office/drawing/2014/main" id="{400394B9-1481-4618-BD9A-E95E90CBD9F2}"/>
                  </a:ext>
                </a:extLst>
              </p:cNvPr>
              <p:cNvSpPr>
                <a:spLocks noChangeArrowheads="1"/>
              </p:cNvSpPr>
              <p:nvPr/>
            </p:nvSpPr>
            <p:spPr bwMode="auto">
              <a:xfrm>
                <a:off x="219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2" name="Rectangle 343">
                <a:extLst>
                  <a:ext uri="{FF2B5EF4-FFF2-40B4-BE49-F238E27FC236}">
                    <a16:creationId xmlns:a16="http://schemas.microsoft.com/office/drawing/2014/main" id="{5EF53BA7-AF3E-4B4E-9BEE-0C4DCFA54FD7}"/>
                  </a:ext>
                </a:extLst>
              </p:cNvPr>
              <p:cNvSpPr>
                <a:spLocks noChangeArrowheads="1"/>
              </p:cNvSpPr>
              <p:nvPr/>
            </p:nvSpPr>
            <p:spPr bwMode="auto">
              <a:xfrm>
                <a:off x="225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3" name="Rectangle 344">
                <a:extLst>
                  <a:ext uri="{FF2B5EF4-FFF2-40B4-BE49-F238E27FC236}">
                    <a16:creationId xmlns:a16="http://schemas.microsoft.com/office/drawing/2014/main" id="{FF52F336-8070-4E42-B389-290A098D2693}"/>
                  </a:ext>
                </a:extLst>
              </p:cNvPr>
              <p:cNvSpPr>
                <a:spLocks noChangeArrowheads="1"/>
              </p:cNvSpPr>
              <p:nvPr/>
            </p:nvSpPr>
            <p:spPr bwMode="auto">
              <a:xfrm>
                <a:off x="2285"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4" name="Rectangle 345">
                <a:extLst>
                  <a:ext uri="{FF2B5EF4-FFF2-40B4-BE49-F238E27FC236}">
                    <a16:creationId xmlns:a16="http://schemas.microsoft.com/office/drawing/2014/main" id="{D47FAC76-F562-43B1-836E-0E1D3E8945E0}"/>
                  </a:ext>
                </a:extLst>
              </p:cNvPr>
              <p:cNvSpPr>
                <a:spLocks noChangeArrowheads="1"/>
              </p:cNvSpPr>
              <p:nvPr/>
            </p:nvSpPr>
            <p:spPr bwMode="auto">
              <a:xfrm>
                <a:off x="2316"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5" name="Rectangle 346">
                <a:extLst>
                  <a:ext uri="{FF2B5EF4-FFF2-40B4-BE49-F238E27FC236}">
                    <a16:creationId xmlns:a16="http://schemas.microsoft.com/office/drawing/2014/main" id="{BF7E9277-C5AC-4A3A-9928-02E93CAC2339}"/>
                  </a:ext>
                </a:extLst>
              </p:cNvPr>
              <p:cNvSpPr>
                <a:spLocks noChangeArrowheads="1"/>
              </p:cNvSpPr>
              <p:nvPr/>
            </p:nvSpPr>
            <p:spPr bwMode="auto">
              <a:xfrm>
                <a:off x="2344"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6" name="Rectangle 347">
                <a:extLst>
                  <a:ext uri="{FF2B5EF4-FFF2-40B4-BE49-F238E27FC236}">
                    <a16:creationId xmlns:a16="http://schemas.microsoft.com/office/drawing/2014/main" id="{08F17CA2-FC0B-4A4B-9F64-3ABEDD8CC5CF}"/>
                  </a:ext>
                </a:extLst>
              </p:cNvPr>
              <p:cNvSpPr>
                <a:spLocks noChangeArrowheads="1"/>
              </p:cNvSpPr>
              <p:nvPr/>
            </p:nvSpPr>
            <p:spPr bwMode="auto">
              <a:xfrm>
                <a:off x="240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7" name="Rectangle 348">
                <a:extLst>
                  <a:ext uri="{FF2B5EF4-FFF2-40B4-BE49-F238E27FC236}">
                    <a16:creationId xmlns:a16="http://schemas.microsoft.com/office/drawing/2014/main" id="{F010FD90-0594-473B-B063-623C8C24EB2E}"/>
                  </a:ext>
                </a:extLst>
              </p:cNvPr>
              <p:cNvSpPr>
                <a:spLocks noChangeArrowheads="1"/>
              </p:cNvSpPr>
              <p:nvPr/>
            </p:nvSpPr>
            <p:spPr bwMode="auto">
              <a:xfrm>
                <a:off x="2431"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8" name="Rectangle 349">
                <a:extLst>
                  <a:ext uri="{FF2B5EF4-FFF2-40B4-BE49-F238E27FC236}">
                    <a16:creationId xmlns:a16="http://schemas.microsoft.com/office/drawing/2014/main" id="{D509A930-860F-42B2-B99E-89B114BF8B50}"/>
                  </a:ext>
                </a:extLst>
              </p:cNvPr>
              <p:cNvSpPr>
                <a:spLocks noChangeArrowheads="1"/>
              </p:cNvSpPr>
              <p:nvPr/>
            </p:nvSpPr>
            <p:spPr bwMode="auto">
              <a:xfrm>
                <a:off x="2519"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9" name="Rectangle 350">
                <a:extLst>
                  <a:ext uri="{FF2B5EF4-FFF2-40B4-BE49-F238E27FC236}">
                    <a16:creationId xmlns:a16="http://schemas.microsoft.com/office/drawing/2014/main" id="{5D85FCA7-85EA-4D1F-B647-716090A2D441}"/>
                  </a:ext>
                </a:extLst>
              </p:cNvPr>
              <p:cNvSpPr>
                <a:spLocks noChangeArrowheads="1"/>
              </p:cNvSpPr>
              <p:nvPr/>
            </p:nvSpPr>
            <p:spPr bwMode="auto">
              <a:xfrm>
                <a:off x="257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0" name="Rectangle 351">
                <a:extLst>
                  <a:ext uri="{FF2B5EF4-FFF2-40B4-BE49-F238E27FC236}">
                    <a16:creationId xmlns:a16="http://schemas.microsoft.com/office/drawing/2014/main" id="{F61B80E8-79E2-42D3-8C83-15455FC4AF7F}"/>
                  </a:ext>
                </a:extLst>
              </p:cNvPr>
              <p:cNvSpPr>
                <a:spLocks noChangeArrowheads="1"/>
              </p:cNvSpPr>
              <p:nvPr/>
            </p:nvSpPr>
            <p:spPr bwMode="auto">
              <a:xfrm>
                <a:off x="2606"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1" name="Rectangle 352">
                <a:extLst>
                  <a:ext uri="{FF2B5EF4-FFF2-40B4-BE49-F238E27FC236}">
                    <a16:creationId xmlns:a16="http://schemas.microsoft.com/office/drawing/2014/main" id="{4BC4C5C2-312B-40FC-A52F-1CF78478D994}"/>
                  </a:ext>
                </a:extLst>
              </p:cNvPr>
              <p:cNvSpPr>
                <a:spLocks noChangeArrowheads="1"/>
              </p:cNvSpPr>
              <p:nvPr/>
            </p:nvSpPr>
            <p:spPr bwMode="auto">
              <a:xfrm>
                <a:off x="263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2" name="Rectangle 353">
                <a:extLst>
                  <a:ext uri="{FF2B5EF4-FFF2-40B4-BE49-F238E27FC236}">
                    <a16:creationId xmlns:a16="http://schemas.microsoft.com/office/drawing/2014/main" id="{B00CDBE8-E014-496C-A1B9-67F5D9942FDC}"/>
                  </a:ext>
                </a:extLst>
              </p:cNvPr>
              <p:cNvSpPr>
                <a:spLocks noChangeArrowheads="1"/>
              </p:cNvSpPr>
              <p:nvPr/>
            </p:nvSpPr>
            <p:spPr bwMode="auto">
              <a:xfrm>
                <a:off x="2665"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3" name="Rectangle 354">
                <a:extLst>
                  <a:ext uri="{FF2B5EF4-FFF2-40B4-BE49-F238E27FC236}">
                    <a16:creationId xmlns:a16="http://schemas.microsoft.com/office/drawing/2014/main" id="{6AE913DE-E5C8-465E-8896-9DABE020564B}"/>
                  </a:ext>
                </a:extLst>
              </p:cNvPr>
              <p:cNvSpPr>
                <a:spLocks noChangeArrowheads="1"/>
              </p:cNvSpPr>
              <p:nvPr/>
            </p:nvSpPr>
            <p:spPr bwMode="auto">
              <a:xfrm>
                <a:off x="2696"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4" name="Rectangle 355">
                <a:extLst>
                  <a:ext uri="{FF2B5EF4-FFF2-40B4-BE49-F238E27FC236}">
                    <a16:creationId xmlns:a16="http://schemas.microsoft.com/office/drawing/2014/main" id="{B5E9F2D6-AC77-4654-A197-566EB434D081}"/>
                  </a:ext>
                </a:extLst>
              </p:cNvPr>
              <p:cNvSpPr>
                <a:spLocks noChangeArrowheads="1"/>
              </p:cNvSpPr>
              <p:nvPr/>
            </p:nvSpPr>
            <p:spPr bwMode="auto">
              <a:xfrm>
                <a:off x="2725"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5" name="Rectangle 356">
                <a:extLst>
                  <a:ext uri="{FF2B5EF4-FFF2-40B4-BE49-F238E27FC236}">
                    <a16:creationId xmlns:a16="http://schemas.microsoft.com/office/drawing/2014/main" id="{2C207EEF-7748-4005-AD55-BFFDB0B10522}"/>
                  </a:ext>
                </a:extLst>
              </p:cNvPr>
              <p:cNvSpPr>
                <a:spLocks noChangeArrowheads="1"/>
              </p:cNvSpPr>
              <p:nvPr/>
            </p:nvSpPr>
            <p:spPr bwMode="auto">
              <a:xfrm>
                <a:off x="2753"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6" name="Rectangle 357">
                <a:extLst>
                  <a:ext uri="{FF2B5EF4-FFF2-40B4-BE49-F238E27FC236}">
                    <a16:creationId xmlns:a16="http://schemas.microsoft.com/office/drawing/2014/main" id="{D69365B1-DF41-43CE-BC23-09234BEEB312}"/>
                  </a:ext>
                </a:extLst>
              </p:cNvPr>
              <p:cNvSpPr>
                <a:spLocks noChangeArrowheads="1"/>
              </p:cNvSpPr>
              <p:nvPr/>
            </p:nvSpPr>
            <p:spPr bwMode="auto">
              <a:xfrm>
                <a:off x="2784"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7" name="Rectangle 358">
                <a:extLst>
                  <a:ext uri="{FF2B5EF4-FFF2-40B4-BE49-F238E27FC236}">
                    <a16:creationId xmlns:a16="http://schemas.microsoft.com/office/drawing/2014/main" id="{F4785197-6688-4713-99CA-B87570776479}"/>
                  </a:ext>
                </a:extLst>
              </p:cNvPr>
              <p:cNvSpPr>
                <a:spLocks noChangeArrowheads="1"/>
              </p:cNvSpPr>
              <p:nvPr/>
            </p:nvSpPr>
            <p:spPr bwMode="auto">
              <a:xfrm>
                <a:off x="284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8" name="Rectangle 359">
                <a:extLst>
                  <a:ext uri="{FF2B5EF4-FFF2-40B4-BE49-F238E27FC236}">
                    <a16:creationId xmlns:a16="http://schemas.microsoft.com/office/drawing/2014/main" id="{9A6F1025-FC43-44E9-ABFA-8D05DAB7A9D6}"/>
                  </a:ext>
                </a:extLst>
              </p:cNvPr>
              <p:cNvSpPr>
                <a:spLocks noChangeArrowheads="1"/>
              </p:cNvSpPr>
              <p:nvPr/>
            </p:nvSpPr>
            <p:spPr bwMode="auto">
              <a:xfrm>
                <a:off x="2989"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9" name="Rectangle 360">
                <a:extLst>
                  <a:ext uri="{FF2B5EF4-FFF2-40B4-BE49-F238E27FC236}">
                    <a16:creationId xmlns:a16="http://schemas.microsoft.com/office/drawing/2014/main" id="{093E4D66-EB76-41D7-90E2-E92656C44E4B}"/>
                  </a:ext>
                </a:extLst>
              </p:cNvPr>
              <p:cNvSpPr>
                <a:spLocks noChangeArrowheads="1"/>
              </p:cNvSpPr>
              <p:nvPr/>
            </p:nvSpPr>
            <p:spPr bwMode="auto">
              <a:xfrm>
                <a:off x="3018"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0" name="Rectangle 361">
                <a:extLst>
                  <a:ext uri="{FF2B5EF4-FFF2-40B4-BE49-F238E27FC236}">
                    <a16:creationId xmlns:a16="http://schemas.microsoft.com/office/drawing/2014/main" id="{7D009238-61C8-4D81-AB4A-D8B6B5A612EE}"/>
                  </a:ext>
                </a:extLst>
              </p:cNvPr>
              <p:cNvSpPr>
                <a:spLocks noChangeArrowheads="1"/>
              </p:cNvSpPr>
              <p:nvPr/>
            </p:nvSpPr>
            <p:spPr bwMode="auto">
              <a:xfrm>
                <a:off x="3046"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1" name="Rectangle 362">
                <a:extLst>
                  <a:ext uri="{FF2B5EF4-FFF2-40B4-BE49-F238E27FC236}">
                    <a16:creationId xmlns:a16="http://schemas.microsoft.com/office/drawing/2014/main" id="{C2A16D54-B2A8-4D67-B290-EFF2C4579464}"/>
                  </a:ext>
                </a:extLst>
              </p:cNvPr>
              <p:cNvSpPr>
                <a:spLocks noChangeArrowheads="1"/>
              </p:cNvSpPr>
              <p:nvPr/>
            </p:nvSpPr>
            <p:spPr bwMode="auto">
              <a:xfrm>
                <a:off x="3077"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2" name="Rectangle 363">
                <a:extLst>
                  <a:ext uri="{FF2B5EF4-FFF2-40B4-BE49-F238E27FC236}">
                    <a16:creationId xmlns:a16="http://schemas.microsoft.com/office/drawing/2014/main" id="{A7F13465-4B0C-4CB9-9B99-C58A4852CC90}"/>
                  </a:ext>
                </a:extLst>
              </p:cNvPr>
              <p:cNvSpPr>
                <a:spLocks noChangeArrowheads="1"/>
              </p:cNvSpPr>
              <p:nvPr/>
            </p:nvSpPr>
            <p:spPr bwMode="auto">
              <a:xfrm>
                <a:off x="3105"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3" name="Rectangle 364">
                <a:extLst>
                  <a:ext uri="{FF2B5EF4-FFF2-40B4-BE49-F238E27FC236}">
                    <a16:creationId xmlns:a16="http://schemas.microsoft.com/office/drawing/2014/main" id="{E8C1C561-A06C-4629-9828-80FA7E5335A1}"/>
                  </a:ext>
                </a:extLst>
              </p:cNvPr>
              <p:cNvSpPr>
                <a:spLocks noChangeArrowheads="1"/>
              </p:cNvSpPr>
              <p:nvPr/>
            </p:nvSpPr>
            <p:spPr bwMode="auto">
              <a:xfrm>
                <a:off x="3133"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4" name="Rectangle 365">
                <a:extLst>
                  <a:ext uri="{FF2B5EF4-FFF2-40B4-BE49-F238E27FC236}">
                    <a16:creationId xmlns:a16="http://schemas.microsoft.com/office/drawing/2014/main" id="{36472936-AE1C-48DE-A68D-730D5F54E633}"/>
                  </a:ext>
                </a:extLst>
              </p:cNvPr>
              <p:cNvSpPr>
                <a:spLocks noChangeArrowheads="1"/>
              </p:cNvSpPr>
              <p:nvPr/>
            </p:nvSpPr>
            <p:spPr bwMode="auto">
              <a:xfrm>
                <a:off x="3192"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5" name="Rectangle 366">
                <a:extLst>
                  <a:ext uri="{FF2B5EF4-FFF2-40B4-BE49-F238E27FC236}">
                    <a16:creationId xmlns:a16="http://schemas.microsoft.com/office/drawing/2014/main" id="{C3759C9C-FF3D-403B-BF4F-48D570AB42A6}"/>
                  </a:ext>
                </a:extLst>
              </p:cNvPr>
              <p:cNvSpPr>
                <a:spLocks noChangeArrowheads="1"/>
              </p:cNvSpPr>
              <p:nvPr/>
            </p:nvSpPr>
            <p:spPr bwMode="auto">
              <a:xfrm>
                <a:off x="3223"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6" name="Rectangle 367">
                <a:extLst>
                  <a:ext uri="{FF2B5EF4-FFF2-40B4-BE49-F238E27FC236}">
                    <a16:creationId xmlns:a16="http://schemas.microsoft.com/office/drawing/2014/main" id="{27189A0D-3ECA-4BA1-9156-BCF62B6E86CE}"/>
                  </a:ext>
                </a:extLst>
              </p:cNvPr>
              <p:cNvSpPr>
                <a:spLocks noChangeArrowheads="1"/>
              </p:cNvSpPr>
              <p:nvPr/>
            </p:nvSpPr>
            <p:spPr bwMode="auto">
              <a:xfrm>
                <a:off x="3251" y="1255"/>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7" name="Rectangle 368">
                <a:extLst>
                  <a:ext uri="{FF2B5EF4-FFF2-40B4-BE49-F238E27FC236}">
                    <a16:creationId xmlns:a16="http://schemas.microsoft.com/office/drawing/2014/main" id="{6397DEBC-86D6-4702-BB1E-6D5968F40C24}"/>
                  </a:ext>
                </a:extLst>
              </p:cNvPr>
              <p:cNvSpPr>
                <a:spLocks noChangeArrowheads="1"/>
              </p:cNvSpPr>
              <p:nvPr/>
            </p:nvSpPr>
            <p:spPr bwMode="auto">
              <a:xfrm>
                <a:off x="3339" y="1255"/>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8" name="Rectangle 369">
                <a:extLst>
                  <a:ext uri="{FF2B5EF4-FFF2-40B4-BE49-F238E27FC236}">
                    <a16:creationId xmlns:a16="http://schemas.microsoft.com/office/drawing/2014/main" id="{3349767D-C7A7-4E86-AAFF-9EBCEB19C38F}"/>
                  </a:ext>
                </a:extLst>
              </p:cNvPr>
              <p:cNvSpPr>
                <a:spLocks noChangeArrowheads="1"/>
              </p:cNvSpPr>
              <p:nvPr/>
            </p:nvSpPr>
            <p:spPr bwMode="auto">
              <a:xfrm>
                <a:off x="3370" y="1255"/>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9" name="Rectangle 370">
                <a:extLst>
                  <a:ext uri="{FF2B5EF4-FFF2-40B4-BE49-F238E27FC236}">
                    <a16:creationId xmlns:a16="http://schemas.microsoft.com/office/drawing/2014/main" id="{E3BEAA14-84F0-4482-924B-FC803763C14A}"/>
                  </a:ext>
                </a:extLst>
              </p:cNvPr>
              <p:cNvSpPr>
                <a:spLocks noChangeArrowheads="1"/>
              </p:cNvSpPr>
              <p:nvPr/>
            </p:nvSpPr>
            <p:spPr bwMode="auto">
              <a:xfrm>
                <a:off x="2198"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0" name="Rectangle 371">
                <a:extLst>
                  <a:ext uri="{FF2B5EF4-FFF2-40B4-BE49-F238E27FC236}">
                    <a16:creationId xmlns:a16="http://schemas.microsoft.com/office/drawing/2014/main" id="{B44D5355-A3CC-418B-B028-7DE52DDE127E}"/>
                  </a:ext>
                </a:extLst>
              </p:cNvPr>
              <p:cNvSpPr>
                <a:spLocks noChangeArrowheads="1"/>
              </p:cNvSpPr>
              <p:nvPr/>
            </p:nvSpPr>
            <p:spPr bwMode="auto">
              <a:xfrm>
                <a:off x="2257"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1" name="Rectangle 372">
                <a:extLst>
                  <a:ext uri="{FF2B5EF4-FFF2-40B4-BE49-F238E27FC236}">
                    <a16:creationId xmlns:a16="http://schemas.microsoft.com/office/drawing/2014/main" id="{9E36B6AA-83BA-44A7-81EA-54C0E5FE68B4}"/>
                  </a:ext>
                </a:extLst>
              </p:cNvPr>
              <p:cNvSpPr>
                <a:spLocks noChangeArrowheads="1"/>
              </p:cNvSpPr>
              <p:nvPr/>
            </p:nvSpPr>
            <p:spPr bwMode="auto">
              <a:xfrm>
                <a:off x="2285"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2" name="Rectangle 373">
                <a:extLst>
                  <a:ext uri="{FF2B5EF4-FFF2-40B4-BE49-F238E27FC236}">
                    <a16:creationId xmlns:a16="http://schemas.microsoft.com/office/drawing/2014/main" id="{85A11E98-D736-40BD-97DB-C69CD08BA57C}"/>
                  </a:ext>
                </a:extLst>
              </p:cNvPr>
              <p:cNvSpPr>
                <a:spLocks noChangeArrowheads="1"/>
              </p:cNvSpPr>
              <p:nvPr/>
            </p:nvSpPr>
            <p:spPr bwMode="auto">
              <a:xfrm>
                <a:off x="2344"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3" name="Rectangle 374">
                <a:extLst>
                  <a:ext uri="{FF2B5EF4-FFF2-40B4-BE49-F238E27FC236}">
                    <a16:creationId xmlns:a16="http://schemas.microsoft.com/office/drawing/2014/main" id="{C1283C79-A88C-4739-AC40-C5194EF3D6ED}"/>
                  </a:ext>
                </a:extLst>
              </p:cNvPr>
              <p:cNvSpPr>
                <a:spLocks noChangeArrowheads="1"/>
              </p:cNvSpPr>
              <p:nvPr/>
            </p:nvSpPr>
            <p:spPr bwMode="auto">
              <a:xfrm>
                <a:off x="2372"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4" name="Rectangle 375">
                <a:extLst>
                  <a:ext uri="{FF2B5EF4-FFF2-40B4-BE49-F238E27FC236}">
                    <a16:creationId xmlns:a16="http://schemas.microsoft.com/office/drawing/2014/main" id="{02E1BA33-4DE7-44BE-A5CA-617C8421A9F2}"/>
                  </a:ext>
                </a:extLst>
              </p:cNvPr>
              <p:cNvSpPr>
                <a:spLocks noChangeArrowheads="1"/>
              </p:cNvSpPr>
              <p:nvPr/>
            </p:nvSpPr>
            <p:spPr bwMode="auto">
              <a:xfrm>
                <a:off x="2431"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5" name="Rectangle 376">
                <a:extLst>
                  <a:ext uri="{FF2B5EF4-FFF2-40B4-BE49-F238E27FC236}">
                    <a16:creationId xmlns:a16="http://schemas.microsoft.com/office/drawing/2014/main" id="{55B7A59C-1454-4D14-9827-CFFFC591F123}"/>
                  </a:ext>
                </a:extLst>
              </p:cNvPr>
              <p:cNvSpPr>
                <a:spLocks noChangeArrowheads="1"/>
              </p:cNvSpPr>
              <p:nvPr/>
            </p:nvSpPr>
            <p:spPr bwMode="auto">
              <a:xfrm>
                <a:off x="2519"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6" name="Rectangle 377">
                <a:extLst>
                  <a:ext uri="{FF2B5EF4-FFF2-40B4-BE49-F238E27FC236}">
                    <a16:creationId xmlns:a16="http://schemas.microsoft.com/office/drawing/2014/main" id="{36ACF0AB-B9BB-42AF-B6D1-EE9D599AAEE6}"/>
                  </a:ext>
                </a:extLst>
              </p:cNvPr>
              <p:cNvSpPr>
                <a:spLocks noChangeArrowheads="1"/>
              </p:cNvSpPr>
              <p:nvPr/>
            </p:nvSpPr>
            <p:spPr bwMode="auto">
              <a:xfrm>
                <a:off x="255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7" name="Rectangle 378">
                <a:extLst>
                  <a:ext uri="{FF2B5EF4-FFF2-40B4-BE49-F238E27FC236}">
                    <a16:creationId xmlns:a16="http://schemas.microsoft.com/office/drawing/2014/main" id="{26903526-1809-41E0-B270-6774575EE8A3}"/>
                  </a:ext>
                </a:extLst>
              </p:cNvPr>
              <p:cNvSpPr>
                <a:spLocks noChangeArrowheads="1"/>
              </p:cNvSpPr>
              <p:nvPr/>
            </p:nvSpPr>
            <p:spPr bwMode="auto">
              <a:xfrm>
                <a:off x="2637"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8" name="Rectangle 379">
                <a:extLst>
                  <a:ext uri="{FF2B5EF4-FFF2-40B4-BE49-F238E27FC236}">
                    <a16:creationId xmlns:a16="http://schemas.microsoft.com/office/drawing/2014/main" id="{7A1273FE-36A3-48C2-A57C-300EF87F4BFF}"/>
                  </a:ext>
                </a:extLst>
              </p:cNvPr>
              <p:cNvSpPr>
                <a:spLocks noChangeArrowheads="1"/>
              </p:cNvSpPr>
              <p:nvPr/>
            </p:nvSpPr>
            <p:spPr bwMode="auto">
              <a:xfrm>
                <a:off x="2753"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9" name="Rectangle 380">
                <a:extLst>
                  <a:ext uri="{FF2B5EF4-FFF2-40B4-BE49-F238E27FC236}">
                    <a16:creationId xmlns:a16="http://schemas.microsoft.com/office/drawing/2014/main" id="{B24039E3-676B-4F3C-80A2-BD4ED5012010}"/>
                  </a:ext>
                </a:extLst>
              </p:cNvPr>
              <p:cNvSpPr>
                <a:spLocks noChangeArrowheads="1"/>
              </p:cNvSpPr>
              <p:nvPr/>
            </p:nvSpPr>
            <p:spPr bwMode="auto">
              <a:xfrm>
                <a:off x="2812"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0" name="Rectangle 381">
                <a:extLst>
                  <a:ext uri="{FF2B5EF4-FFF2-40B4-BE49-F238E27FC236}">
                    <a16:creationId xmlns:a16="http://schemas.microsoft.com/office/drawing/2014/main" id="{89BC1D19-4598-4200-B729-7046B2DE8540}"/>
                  </a:ext>
                </a:extLst>
              </p:cNvPr>
              <p:cNvSpPr>
                <a:spLocks noChangeArrowheads="1"/>
              </p:cNvSpPr>
              <p:nvPr/>
            </p:nvSpPr>
            <p:spPr bwMode="auto">
              <a:xfrm>
                <a:off x="2871"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1" name="Rectangle 382">
                <a:extLst>
                  <a:ext uri="{FF2B5EF4-FFF2-40B4-BE49-F238E27FC236}">
                    <a16:creationId xmlns:a16="http://schemas.microsoft.com/office/drawing/2014/main" id="{AB4074B1-D784-40C9-9506-9399B74A92B2}"/>
                  </a:ext>
                </a:extLst>
              </p:cNvPr>
              <p:cNvSpPr>
                <a:spLocks noChangeArrowheads="1"/>
              </p:cNvSpPr>
              <p:nvPr/>
            </p:nvSpPr>
            <p:spPr bwMode="auto">
              <a:xfrm>
                <a:off x="293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2" name="Rectangle 383">
                <a:extLst>
                  <a:ext uri="{FF2B5EF4-FFF2-40B4-BE49-F238E27FC236}">
                    <a16:creationId xmlns:a16="http://schemas.microsoft.com/office/drawing/2014/main" id="{AAA7B50C-1688-4739-94FC-4D452AB2056E}"/>
                  </a:ext>
                </a:extLst>
              </p:cNvPr>
              <p:cNvSpPr>
                <a:spLocks noChangeArrowheads="1"/>
              </p:cNvSpPr>
              <p:nvPr/>
            </p:nvSpPr>
            <p:spPr bwMode="auto">
              <a:xfrm>
                <a:off x="2958"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3" name="Rectangle 384">
                <a:extLst>
                  <a:ext uri="{FF2B5EF4-FFF2-40B4-BE49-F238E27FC236}">
                    <a16:creationId xmlns:a16="http://schemas.microsoft.com/office/drawing/2014/main" id="{5A2280F8-9F58-4E60-A09C-59ED26B77F34}"/>
                  </a:ext>
                </a:extLst>
              </p:cNvPr>
              <p:cNvSpPr>
                <a:spLocks noChangeArrowheads="1"/>
              </p:cNvSpPr>
              <p:nvPr/>
            </p:nvSpPr>
            <p:spPr bwMode="auto">
              <a:xfrm>
                <a:off x="2989" y="1283"/>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4" name="Rectangle 385">
                <a:extLst>
                  <a:ext uri="{FF2B5EF4-FFF2-40B4-BE49-F238E27FC236}">
                    <a16:creationId xmlns:a16="http://schemas.microsoft.com/office/drawing/2014/main" id="{8DEDCBE0-6E83-496A-A1A1-E56C3E61E8CF}"/>
                  </a:ext>
                </a:extLst>
              </p:cNvPr>
              <p:cNvSpPr>
                <a:spLocks noChangeArrowheads="1"/>
              </p:cNvSpPr>
              <p:nvPr/>
            </p:nvSpPr>
            <p:spPr bwMode="auto">
              <a:xfrm>
                <a:off x="3018"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5" name="Rectangle 386">
                <a:extLst>
                  <a:ext uri="{FF2B5EF4-FFF2-40B4-BE49-F238E27FC236}">
                    <a16:creationId xmlns:a16="http://schemas.microsoft.com/office/drawing/2014/main" id="{C7018A5A-D9B4-4CBB-A2A5-B238A8886B46}"/>
                  </a:ext>
                </a:extLst>
              </p:cNvPr>
              <p:cNvSpPr>
                <a:spLocks noChangeArrowheads="1"/>
              </p:cNvSpPr>
              <p:nvPr/>
            </p:nvSpPr>
            <p:spPr bwMode="auto">
              <a:xfrm>
                <a:off x="3105"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6" name="Rectangle 387">
                <a:extLst>
                  <a:ext uri="{FF2B5EF4-FFF2-40B4-BE49-F238E27FC236}">
                    <a16:creationId xmlns:a16="http://schemas.microsoft.com/office/drawing/2014/main" id="{80BE0AF9-CBB8-47EE-9F5E-EDB1C3545DF0}"/>
                  </a:ext>
                </a:extLst>
              </p:cNvPr>
              <p:cNvSpPr>
                <a:spLocks noChangeArrowheads="1"/>
              </p:cNvSpPr>
              <p:nvPr/>
            </p:nvSpPr>
            <p:spPr bwMode="auto">
              <a:xfrm>
                <a:off x="3280"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7" name="Rectangle 388">
                <a:extLst>
                  <a:ext uri="{FF2B5EF4-FFF2-40B4-BE49-F238E27FC236}">
                    <a16:creationId xmlns:a16="http://schemas.microsoft.com/office/drawing/2014/main" id="{94D82401-1535-4991-AF74-71F8723A1F17}"/>
                  </a:ext>
                </a:extLst>
              </p:cNvPr>
              <p:cNvSpPr>
                <a:spLocks noChangeArrowheads="1"/>
              </p:cNvSpPr>
              <p:nvPr/>
            </p:nvSpPr>
            <p:spPr bwMode="auto">
              <a:xfrm>
                <a:off x="3311"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8" name="Rectangle 389">
                <a:extLst>
                  <a:ext uri="{FF2B5EF4-FFF2-40B4-BE49-F238E27FC236}">
                    <a16:creationId xmlns:a16="http://schemas.microsoft.com/office/drawing/2014/main" id="{C941475B-AFE6-434A-99C0-6DD06108AF84}"/>
                  </a:ext>
                </a:extLst>
              </p:cNvPr>
              <p:cNvSpPr>
                <a:spLocks noChangeArrowheads="1"/>
              </p:cNvSpPr>
              <p:nvPr/>
            </p:nvSpPr>
            <p:spPr bwMode="auto">
              <a:xfrm>
                <a:off x="3339" y="1283"/>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9" name="Rectangle 390">
                <a:extLst>
                  <a:ext uri="{FF2B5EF4-FFF2-40B4-BE49-F238E27FC236}">
                    <a16:creationId xmlns:a16="http://schemas.microsoft.com/office/drawing/2014/main" id="{95333F9E-E21A-48F4-B7B1-2A9A477BFF49}"/>
                  </a:ext>
                </a:extLst>
              </p:cNvPr>
              <p:cNvSpPr>
                <a:spLocks noChangeArrowheads="1"/>
              </p:cNvSpPr>
              <p:nvPr/>
            </p:nvSpPr>
            <p:spPr bwMode="auto">
              <a:xfrm>
                <a:off x="3370" y="1283"/>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0" name="Rectangle 391">
                <a:extLst>
                  <a:ext uri="{FF2B5EF4-FFF2-40B4-BE49-F238E27FC236}">
                    <a16:creationId xmlns:a16="http://schemas.microsoft.com/office/drawing/2014/main" id="{D6154FCE-5455-46FD-B347-ED6959009663}"/>
                  </a:ext>
                </a:extLst>
              </p:cNvPr>
              <p:cNvSpPr>
                <a:spLocks noChangeArrowheads="1"/>
              </p:cNvSpPr>
              <p:nvPr/>
            </p:nvSpPr>
            <p:spPr bwMode="auto">
              <a:xfrm>
                <a:off x="2226"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1" name="Rectangle 392">
                <a:extLst>
                  <a:ext uri="{FF2B5EF4-FFF2-40B4-BE49-F238E27FC236}">
                    <a16:creationId xmlns:a16="http://schemas.microsoft.com/office/drawing/2014/main" id="{222B61C8-7201-49CA-AC15-5CA14D72503A}"/>
                  </a:ext>
                </a:extLst>
              </p:cNvPr>
              <p:cNvSpPr>
                <a:spLocks noChangeArrowheads="1"/>
              </p:cNvSpPr>
              <p:nvPr/>
            </p:nvSpPr>
            <p:spPr bwMode="auto">
              <a:xfrm>
                <a:off x="2285"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2" name="Rectangle 393">
                <a:extLst>
                  <a:ext uri="{FF2B5EF4-FFF2-40B4-BE49-F238E27FC236}">
                    <a16:creationId xmlns:a16="http://schemas.microsoft.com/office/drawing/2014/main" id="{0733A7DC-1559-4BA9-89CA-E34B59D1A3EB}"/>
                  </a:ext>
                </a:extLst>
              </p:cNvPr>
              <p:cNvSpPr>
                <a:spLocks noChangeArrowheads="1"/>
              </p:cNvSpPr>
              <p:nvPr/>
            </p:nvSpPr>
            <p:spPr bwMode="auto">
              <a:xfrm>
                <a:off x="2316"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3" name="Rectangle 394">
                <a:extLst>
                  <a:ext uri="{FF2B5EF4-FFF2-40B4-BE49-F238E27FC236}">
                    <a16:creationId xmlns:a16="http://schemas.microsoft.com/office/drawing/2014/main" id="{DAE5D961-9821-4146-98AA-42A039B86A05}"/>
                  </a:ext>
                </a:extLst>
              </p:cNvPr>
              <p:cNvSpPr>
                <a:spLocks noChangeArrowheads="1"/>
              </p:cNvSpPr>
              <p:nvPr/>
            </p:nvSpPr>
            <p:spPr bwMode="auto">
              <a:xfrm>
                <a:off x="234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4" name="Rectangle 395">
                <a:extLst>
                  <a:ext uri="{FF2B5EF4-FFF2-40B4-BE49-F238E27FC236}">
                    <a16:creationId xmlns:a16="http://schemas.microsoft.com/office/drawing/2014/main" id="{99404255-6993-428A-9461-83B21BA75BA1}"/>
                  </a:ext>
                </a:extLst>
              </p:cNvPr>
              <p:cNvSpPr>
                <a:spLocks noChangeArrowheads="1"/>
              </p:cNvSpPr>
              <p:nvPr/>
            </p:nvSpPr>
            <p:spPr bwMode="auto">
              <a:xfrm>
                <a:off x="2491"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5" name="Rectangle 396">
                <a:extLst>
                  <a:ext uri="{FF2B5EF4-FFF2-40B4-BE49-F238E27FC236}">
                    <a16:creationId xmlns:a16="http://schemas.microsoft.com/office/drawing/2014/main" id="{ABE03C9F-6E10-4FDC-B305-606AE64F96F9}"/>
                  </a:ext>
                </a:extLst>
              </p:cNvPr>
              <p:cNvSpPr>
                <a:spLocks noChangeArrowheads="1"/>
              </p:cNvSpPr>
              <p:nvPr/>
            </p:nvSpPr>
            <p:spPr bwMode="auto">
              <a:xfrm>
                <a:off x="2578"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6" name="Rectangle 397">
                <a:extLst>
                  <a:ext uri="{FF2B5EF4-FFF2-40B4-BE49-F238E27FC236}">
                    <a16:creationId xmlns:a16="http://schemas.microsoft.com/office/drawing/2014/main" id="{82402AB0-773F-44DB-884E-70AAB37C247C}"/>
                  </a:ext>
                </a:extLst>
              </p:cNvPr>
              <p:cNvSpPr>
                <a:spLocks noChangeArrowheads="1"/>
              </p:cNvSpPr>
              <p:nvPr/>
            </p:nvSpPr>
            <p:spPr bwMode="auto">
              <a:xfrm>
                <a:off x="2696"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7" name="Rectangle 398">
                <a:extLst>
                  <a:ext uri="{FF2B5EF4-FFF2-40B4-BE49-F238E27FC236}">
                    <a16:creationId xmlns:a16="http://schemas.microsoft.com/office/drawing/2014/main" id="{12DB44B6-8C05-4589-B150-ED4C8356D136}"/>
                  </a:ext>
                </a:extLst>
              </p:cNvPr>
              <p:cNvSpPr>
                <a:spLocks noChangeArrowheads="1"/>
              </p:cNvSpPr>
              <p:nvPr/>
            </p:nvSpPr>
            <p:spPr bwMode="auto">
              <a:xfrm>
                <a:off x="2725"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8" name="Rectangle 399">
                <a:extLst>
                  <a:ext uri="{FF2B5EF4-FFF2-40B4-BE49-F238E27FC236}">
                    <a16:creationId xmlns:a16="http://schemas.microsoft.com/office/drawing/2014/main" id="{CCEF12DA-2FB9-407D-8E25-ACD8511A77A2}"/>
                  </a:ext>
                </a:extLst>
              </p:cNvPr>
              <p:cNvSpPr>
                <a:spLocks noChangeArrowheads="1"/>
              </p:cNvSpPr>
              <p:nvPr/>
            </p:nvSpPr>
            <p:spPr bwMode="auto">
              <a:xfrm>
                <a:off x="2753"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9" name="Rectangle 400">
                <a:extLst>
                  <a:ext uri="{FF2B5EF4-FFF2-40B4-BE49-F238E27FC236}">
                    <a16:creationId xmlns:a16="http://schemas.microsoft.com/office/drawing/2014/main" id="{94AF17BF-C88F-443A-954A-EDF1F1873622}"/>
                  </a:ext>
                </a:extLst>
              </p:cNvPr>
              <p:cNvSpPr>
                <a:spLocks noChangeArrowheads="1"/>
              </p:cNvSpPr>
              <p:nvPr/>
            </p:nvSpPr>
            <p:spPr bwMode="auto">
              <a:xfrm>
                <a:off x="278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0" name="Rectangle 401">
                <a:extLst>
                  <a:ext uri="{FF2B5EF4-FFF2-40B4-BE49-F238E27FC236}">
                    <a16:creationId xmlns:a16="http://schemas.microsoft.com/office/drawing/2014/main" id="{D93F09EC-DDD9-407D-8791-859AC91B8DCC}"/>
                  </a:ext>
                </a:extLst>
              </p:cNvPr>
              <p:cNvSpPr>
                <a:spLocks noChangeArrowheads="1"/>
              </p:cNvSpPr>
              <p:nvPr/>
            </p:nvSpPr>
            <p:spPr bwMode="auto">
              <a:xfrm>
                <a:off x="2843"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1" name="Rectangle 402">
                <a:extLst>
                  <a:ext uri="{FF2B5EF4-FFF2-40B4-BE49-F238E27FC236}">
                    <a16:creationId xmlns:a16="http://schemas.microsoft.com/office/drawing/2014/main" id="{28A87FA2-07B6-4064-9E09-7148C90E88E1}"/>
                  </a:ext>
                </a:extLst>
              </p:cNvPr>
              <p:cNvSpPr>
                <a:spLocks noChangeArrowheads="1"/>
              </p:cNvSpPr>
              <p:nvPr/>
            </p:nvSpPr>
            <p:spPr bwMode="auto">
              <a:xfrm>
                <a:off x="2899"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2" name="Rectangle 403">
                <a:extLst>
                  <a:ext uri="{FF2B5EF4-FFF2-40B4-BE49-F238E27FC236}">
                    <a16:creationId xmlns:a16="http://schemas.microsoft.com/office/drawing/2014/main" id="{3969130F-AE51-4E1A-A312-1BAA66C3258B}"/>
                  </a:ext>
                </a:extLst>
              </p:cNvPr>
              <p:cNvSpPr>
                <a:spLocks noChangeArrowheads="1"/>
              </p:cNvSpPr>
              <p:nvPr/>
            </p:nvSpPr>
            <p:spPr bwMode="auto">
              <a:xfrm>
                <a:off x="2958"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3" name="Rectangle 404">
                <a:extLst>
                  <a:ext uri="{FF2B5EF4-FFF2-40B4-BE49-F238E27FC236}">
                    <a16:creationId xmlns:a16="http://schemas.microsoft.com/office/drawing/2014/main" id="{1AA9DE1F-7469-4949-963E-749062E7F6E5}"/>
                  </a:ext>
                </a:extLst>
              </p:cNvPr>
              <p:cNvSpPr>
                <a:spLocks noChangeArrowheads="1"/>
              </p:cNvSpPr>
              <p:nvPr/>
            </p:nvSpPr>
            <p:spPr bwMode="auto">
              <a:xfrm>
                <a:off x="2989"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4" name="Rectangle 405">
                <a:extLst>
                  <a:ext uri="{FF2B5EF4-FFF2-40B4-BE49-F238E27FC236}">
                    <a16:creationId xmlns:a16="http://schemas.microsoft.com/office/drawing/2014/main" id="{3C2BAD00-5158-48BC-B125-B3C7CF3582E6}"/>
                  </a:ext>
                </a:extLst>
              </p:cNvPr>
              <p:cNvSpPr>
                <a:spLocks noChangeArrowheads="1"/>
              </p:cNvSpPr>
              <p:nvPr/>
            </p:nvSpPr>
            <p:spPr bwMode="auto">
              <a:xfrm>
                <a:off x="3018"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5" name="Rectangle 406">
                <a:extLst>
                  <a:ext uri="{FF2B5EF4-FFF2-40B4-BE49-F238E27FC236}">
                    <a16:creationId xmlns:a16="http://schemas.microsoft.com/office/drawing/2014/main" id="{06BF35A3-8DC9-427D-B3AC-C35B6DF7E412}"/>
                  </a:ext>
                </a:extLst>
              </p:cNvPr>
              <p:cNvSpPr>
                <a:spLocks noChangeArrowheads="1"/>
              </p:cNvSpPr>
              <p:nvPr/>
            </p:nvSpPr>
            <p:spPr bwMode="auto">
              <a:xfrm>
                <a:off x="3077"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20" name="Group 608">
              <a:extLst>
                <a:ext uri="{FF2B5EF4-FFF2-40B4-BE49-F238E27FC236}">
                  <a16:creationId xmlns:a16="http://schemas.microsoft.com/office/drawing/2014/main" id="{741A1584-9446-4971-9D74-9575BFCEF5B0}"/>
                </a:ext>
              </a:extLst>
            </p:cNvPr>
            <p:cNvGrpSpPr>
              <a:grpSpLocks/>
            </p:cNvGrpSpPr>
            <p:nvPr/>
          </p:nvGrpSpPr>
          <p:grpSpPr bwMode="auto">
            <a:xfrm>
              <a:off x="2198" y="1312"/>
              <a:ext cx="1200" cy="352"/>
              <a:chOff x="2198" y="1312"/>
              <a:chExt cx="1200" cy="352"/>
            </a:xfrm>
          </p:grpSpPr>
          <p:sp>
            <p:nvSpPr>
              <p:cNvPr id="236" name="Rectangle 408">
                <a:extLst>
                  <a:ext uri="{FF2B5EF4-FFF2-40B4-BE49-F238E27FC236}">
                    <a16:creationId xmlns:a16="http://schemas.microsoft.com/office/drawing/2014/main" id="{6F8A4A03-643C-4BEC-9F77-5C9B46C1C8F5}"/>
                  </a:ext>
                </a:extLst>
              </p:cNvPr>
              <p:cNvSpPr>
                <a:spLocks noChangeArrowheads="1"/>
              </p:cNvSpPr>
              <p:nvPr/>
            </p:nvSpPr>
            <p:spPr bwMode="auto">
              <a:xfrm>
                <a:off x="3164"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7" name="Rectangle 409">
                <a:extLst>
                  <a:ext uri="{FF2B5EF4-FFF2-40B4-BE49-F238E27FC236}">
                    <a16:creationId xmlns:a16="http://schemas.microsoft.com/office/drawing/2014/main" id="{6596F062-AD88-43F2-9FDA-CFC1D856B911}"/>
                  </a:ext>
                </a:extLst>
              </p:cNvPr>
              <p:cNvSpPr>
                <a:spLocks noChangeArrowheads="1"/>
              </p:cNvSpPr>
              <p:nvPr/>
            </p:nvSpPr>
            <p:spPr bwMode="auto">
              <a:xfrm>
                <a:off x="3223" y="1312"/>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8" name="Rectangle 410">
                <a:extLst>
                  <a:ext uri="{FF2B5EF4-FFF2-40B4-BE49-F238E27FC236}">
                    <a16:creationId xmlns:a16="http://schemas.microsoft.com/office/drawing/2014/main" id="{27109819-040B-4482-8132-6407CBBB5027}"/>
                  </a:ext>
                </a:extLst>
              </p:cNvPr>
              <p:cNvSpPr>
                <a:spLocks noChangeArrowheads="1"/>
              </p:cNvSpPr>
              <p:nvPr/>
            </p:nvSpPr>
            <p:spPr bwMode="auto">
              <a:xfrm>
                <a:off x="3251" y="1312"/>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9" name="Rectangle 411">
                <a:extLst>
                  <a:ext uri="{FF2B5EF4-FFF2-40B4-BE49-F238E27FC236}">
                    <a16:creationId xmlns:a16="http://schemas.microsoft.com/office/drawing/2014/main" id="{3B053A98-D530-4D5F-8DFB-C26B7184AF18}"/>
                  </a:ext>
                </a:extLst>
              </p:cNvPr>
              <p:cNvSpPr>
                <a:spLocks noChangeArrowheads="1"/>
              </p:cNvSpPr>
              <p:nvPr/>
            </p:nvSpPr>
            <p:spPr bwMode="auto">
              <a:xfrm>
                <a:off x="3280"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0" name="Rectangle 412">
                <a:extLst>
                  <a:ext uri="{FF2B5EF4-FFF2-40B4-BE49-F238E27FC236}">
                    <a16:creationId xmlns:a16="http://schemas.microsoft.com/office/drawing/2014/main" id="{AE29B52A-C28D-4A0D-85A1-BAE42B69DD3B}"/>
                  </a:ext>
                </a:extLst>
              </p:cNvPr>
              <p:cNvSpPr>
                <a:spLocks noChangeArrowheads="1"/>
              </p:cNvSpPr>
              <p:nvPr/>
            </p:nvSpPr>
            <p:spPr bwMode="auto">
              <a:xfrm>
                <a:off x="3339" y="1312"/>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1" name="Rectangle 413">
                <a:extLst>
                  <a:ext uri="{FF2B5EF4-FFF2-40B4-BE49-F238E27FC236}">
                    <a16:creationId xmlns:a16="http://schemas.microsoft.com/office/drawing/2014/main" id="{A3527C13-C6FC-4801-8639-3D0A2C9A0794}"/>
                  </a:ext>
                </a:extLst>
              </p:cNvPr>
              <p:cNvSpPr>
                <a:spLocks noChangeArrowheads="1"/>
              </p:cNvSpPr>
              <p:nvPr/>
            </p:nvSpPr>
            <p:spPr bwMode="auto">
              <a:xfrm>
                <a:off x="222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2" name="Rectangle 414">
                <a:extLst>
                  <a:ext uri="{FF2B5EF4-FFF2-40B4-BE49-F238E27FC236}">
                    <a16:creationId xmlns:a16="http://schemas.microsoft.com/office/drawing/2014/main" id="{F89FF909-9017-4232-B1FE-417799DD6289}"/>
                  </a:ext>
                </a:extLst>
              </p:cNvPr>
              <p:cNvSpPr>
                <a:spLocks noChangeArrowheads="1"/>
              </p:cNvSpPr>
              <p:nvPr/>
            </p:nvSpPr>
            <p:spPr bwMode="auto">
              <a:xfrm>
                <a:off x="2257"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3" name="Rectangle 415">
                <a:extLst>
                  <a:ext uri="{FF2B5EF4-FFF2-40B4-BE49-F238E27FC236}">
                    <a16:creationId xmlns:a16="http://schemas.microsoft.com/office/drawing/2014/main" id="{611346BF-EA5A-4443-8190-880454339A1B}"/>
                  </a:ext>
                </a:extLst>
              </p:cNvPr>
              <p:cNvSpPr>
                <a:spLocks noChangeArrowheads="1"/>
              </p:cNvSpPr>
              <p:nvPr/>
            </p:nvSpPr>
            <p:spPr bwMode="auto">
              <a:xfrm>
                <a:off x="2316"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4" name="Rectangle 416">
                <a:extLst>
                  <a:ext uri="{FF2B5EF4-FFF2-40B4-BE49-F238E27FC236}">
                    <a16:creationId xmlns:a16="http://schemas.microsoft.com/office/drawing/2014/main" id="{0BE15FB1-3FD0-4CA0-A0ED-3C27B15560EF}"/>
                  </a:ext>
                </a:extLst>
              </p:cNvPr>
              <p:cNvSpPr>
                <a:spLocks noChangeArrowheads="1"/>
              </p:cNvSpPr>
              <p:nvPr/>
            </p:nvSpPr>
            <p:spPr bwMode="auto">
              <a:xfrm>
                <a:off x="2372"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5" name="Rectangle 417">
                <a:extLst>
                  <a:ext uri="{FF2B5EF4-FFF2-40B4-BE49-F238E27FC236}">
                    <a16:creationId xmlns:a16="http://schemas.microsoft.com/office/drawing/2014/main" id="{1800A8B9-9FA9-47AD-8AC3-CDDDEFECD965}"/>
                  </a:ext>
                </a:extLst>
              </p:cNvPr>
              <p:cNvSpPr>
                <a:spLocks noChangeArrowheads="1"/>
              </p:cNvSpPr>
              <p:nvPr/>
            </p:nvSpPr>
            <p:spPr bwMode="auto">
              <a:xfrm>
                <a:off x="240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6" name="Rectangle 418">
                <a:extLst>
                  <a:ext uri="{FF2B5EF4-FFF2-40B4-BE49-F238E27FC236}">
                    <a16:creationId xmlns:a16="http://schemas.microsoft.com/office/drawing/2014/main" id="{85141BB5-104F-4DF4-BFBB-EC040EEAE321}"/>
                  </a:ext>
                </a:extLst>
              </p:cNvPr>
              <p:cNvSpPr>
                <a:spLocks noChangeArrowheads="1"/>
              </p:cNvSpPr>
              <p:nvPr/>
            </p:nvSpPr>
            <p:spPr bwMode="auto">
              <a:xfrm>
                <a:off x="260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7" name="Rectangle 419">
                <a:extLst>
                  <a:ext uri="{FF2B5EF4-FFF2-40B4-BE49-F238E27FC236}">
                    <a16:creationId xmlns:a16="http://schemas.microsoft.com/office/drawing/2014/main" id="{1CA03156-B3CC-4359-8B1E-F08F2C09B3AB}"/>
                  </a:ext>
                </a:extLst>
              </p:cNvPr>
              <p:cNvSpPr>
                <a:spLocks noChangeArrowheads="1"/>
              </p:cNvSpPr>
              <p:nvPr/>
            </p:nvSpPr>
            <p:spPr bwMode="auto">
              <a:xfrm>
                <a:off x="2665"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8" name="Rectangle 420">
                <a:extLst>
                  <a:ext uri="{FF2B5EF4-FFF2-40B4-BE49-F238E27FC236}">
                    <a16:creationId xmlns:a16="http://schemas.microsoft.com/office/drawing/2014/main" id="{762738EA-6D91-4839-9DBB-34BE787C4607}"/>
                  </a:ext>
                </a:extLst>
              </p:cNvPr>
              <p:cNvSpPr>
                <a:spLocks noChangeArrowheads="1"/>
              </p:cNvSpPr>
              <p:nvPr/>
            </p:nvSpPr>
            <p:spPr bwMode="auto">
              <a:xfrm>
                <a:off x="2753"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9" name="Rectangle 421">
                <a:extLst>
                  <a:ext uri="{FF2B5EF4-FFF2-40B4-BE49-F238E27FC236}">
                    <a16:creationId xmlns:a16="http://schemas.microsoft.com/office/drawing/2014/main" id="{BDEF3D86-05BD-4B3C-9C57-DD3E9904C25B}"/>
                  </a:ext>
                </a:extLst>
              </p:cNvPr>
              <p:cNvSpPr>
                <a:spLocks noChangeArrowheads="1"/>
              </p:cNvSpPr>
              <p:nvPr/>
            </p:nvSpPr>
            <p:spPr bwMode="auto">
              <a:xfrm>
                <a:off x="284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0" name="Rectangle 422">
                <a:extLst>
                  <a:ext uri="{FF2B5EF4-FFF2-40B4-BE49-F238E27FC236}">
                    <a16:creationId xmlns:a16="http://schemas.microsoft.com/office/drawing/2014/main" id="{FC8F0BC7-B48D-4B1E-849B-B3F0E70E37EE}"/>
                  </a:ext>
                </a:extLst>
              </p:cNvPr>
              <p:cNvSpPr>
                <a:spLocks noChangeArrowheads="1"/>
              </p:cNvSpPr>
              <p:nvPr/>
            </p:nvSpPr>
            <p:spPr bwMode="auto">
              <a:xfrm>
                <a:off x="2871"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1" name="Rectangle 423">
                <a:extLst>
                  <a:ext uri="{FF2B5EF4-FFF2-40B4-BE49-F238E27FC236}">
                    <a16:creationId xmlns:a16="http://schemas.microsoft.com/office/drawing/2014/main" id="{5046D8BF-AE8E-4F48-BED6-FB1C2D450684}"/>
                  </a:ext>
                </a:extLst>
              </p:cNvPr>
              <p:cNvSpPr>
                <a:spLocks noChangeArrowheads="1"/>
              </p:cNvSpPr>
              <p:nvPr/>
            </p:nvSpPr>
            <p:spPr bwMode="auto">
              <a:xfrm>
                <a:off x="2899"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2" name="Rectangle 424">
                <a:extLst>
                  <a:ext uri="{FF2B5EF4-FFF2-40B4-BE49-F238E27FC236}">
                    <a16:creationId xmlns:a16="http://schemas.microsoft.com/office/drawing/2014/main" id="{C4C735D9-D0F6-43F1-B6A3-25C46BDC2582}"/>
                  </a:ext>
                </a:extLst>
              </p:cNvPr>
              <p:cNvSpPr>
                <a:spLocks noChangeArrowheads="1"/>
              </p:cNvSpPr>
              <p:nvPr/>
            </p:nvSpPr>
            <p:spPr bwMode="auto">
              <a:xfrm>
                <a:off x="2930"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3" name="Rectangle 425">
                <a:extLst>
                  <a:ext uri="{FF2B5EF4-FFF2-40B4-BE49-F238E27FC236}">
                    <a16:creationId xmlns:a16="http://schemas.microsoft.com/office/drawing/2014/main" id="{EB08921A-D92B-4DF1-BCBD-2AF06CBAE379}"/>
                  </a:ext>
                </a:extLst>
              </p:cNvPr>
              <p:cNvSpPr>
                <a:spLocks noChangeArrowheads="1"/>
              </p:cNvSpPr>
              <p:nvPr/>
            </p:nvSpPr>
            <p:spPr bwMode="auto">
              <a:xfrm>
                <a:off x="3018"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4" name="Rectangle 426">
                <a:extLst>
                  <a:ext uri="{FF2B5EF4-FFF2-40B4-BE49-F238E27FC236}">
                    <a16:creationId xmlns:a16="http://schemas.microsoft.com/office/drawing/2014/main" id="{A473D3B8-6E34-46BA-9CCC-F79871EF1413}"/>
                  </a:ext>
                </a:extLst>
              </p:cNvPr>
              <p:cNvSpPr>
                <a:spLocks noChangeArrowheads="1"/>
              </p:cNvSpPr>
              <p:nvPr/>
            </p:nvSpPr>
            <p:spPr bwMode="auto">
              <a:xfrm>
                <a:off x="3046"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5" name="Rectangle 427">
                <a:extLst>
                  <a:ext uri="{FF2B5EF4-FFF2-40B4-BE49-F238E27FC236}">
                    <a16:creationId xmlns:a16="http://schemas.microsoft.com/office/drawing/2014/main" id="{32A2BC2D-194B-4E0E-B275-50DCE8F4B52A}"/>
                  </a:ext>
                </a:extLst>
              </p:cNvPr>
              <p:cNvSpPr>
                <a:spLocks noChangeArrowheads="1"/>
              </p:cNvSpPr>
              <p:nvPr/>
            </p:nvSpPr>
            <p:spPr bwMode="auto">
              <a:xfrm>
                <a:off x="3077"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6" name="Rectangle 428">
                <a:extLst>
                  <a:ext uri="{FF2B5EF4-FFF2-40B4-BE49-F238E27FC236}">
                    <a16:creationId xmlns:a16="http://schemas.microsoft.com/office/drawing/2014/main" id="{EC8C7473-3BCD-4546-B15F-CDECDE1596C2}"/>
                  </a:ext>
                </a:extLst>
              </p:cNvPr>
              <p:cNvSpPr>
                <a:spLocks noChangeArrowheads="1"/>
              </p:cNvSpPr>
              <p:nvPr/>
            </p:nvSpPr>
            <p:spPr bwMode="auto">
              <a:xfrm>
                <a:off x="3105"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7" name="Rectangle 429">
                <a:extLst>
                  <a:ext uri="{FF2B5EF4-FFF2-40B4-BE49-F238E27FC236}">
                    <a16:creationId xmlns:a16="http://schemas.microsoft.com/office/drawing/2014/main" id="{B1D0640F-BBC4-4106-B414-7C636D19B060}"/>
                  </a:ext>
                </a:extLst>
              </p:cNvPr>
              <p:cNvSpPr>
                <a:spLocks noChangeArrowheads="1"/>
              </p:cNvSpPr>
              <p:nvPr/>
            </p:nvSpPr>
            <p:spPr bwMode="auto">
              <a:xfrm>
                <a:off x="3133"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8" name="Rectangle 430">
                <a:extLst>
                  <a:ext uri="{FF2B5EF4-FFF2-40B4-BE49-F238E27FC236}">
                    <a16:creationId xmlns:a16="http://schemas.microsoft.com/office/drawing/2014/main" id="{14EF9030-B79A-41CC-A17F-98D5AA55775E}"/>
                  </a:ext>
                </a:extLst>
              </p:cNvPr>
              <p:cNvSpPr>
                <a:spLocks noChangeArrowheads="1"/>
              </p:cNvSpPr>
              <p:nvPr/>
            </p:nvSpPr>
            <p:spPr bwMode="auto">
              <a:xfrm>
                <a:off x="3223"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9" name="Rectangle 431">
                <a:extLst>
                  <a:ext uri="{FF2B5EF4-FFF2-40B4-BE49-F238E27FC236}">
                    <a16:creationId xmlns:a16="http://schemas.microsoft.com/office/drawing/2014/main" id="{66C64A76-96F3-4D26-B02A-F8BFB1FFF924}"/>
                  </a:ext>
                </a:extLst>
              </p:cNvPr>
              <p:cNvSpPr>
                <a:spLocks noChangeArrowheads="1"/>
              </p:cNvSpPr>
              <p:nvPr/>
            </p:nvSpPr>
            <p:spPr bwMode="auto">
              <a:xfrm>
                <a:off x="3280" y="1342"/>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0" name="Rectangle 432">
                <a:extLst>
                  <a:ext uri="{FF2B5EF4-FFF2-40B4-BE49-F238E27FC236}">
                    <a16:creationId xmlns:a16="http://schemas.microsoft.com/office/drawing/2014/main" id="{B15FA6B2-0620-4A27-9817-116B2696ECD8}"/>
                  </a:ext>
                </a:extLst>
              </p:cNvPr>
              <p:cNvSpPr>
                <a:spLocks noChangeArrowheads="1"/>
              </p:cNvSpPr>
              <p:nvPr/>
            </p:nvSpPr>
            <p:spPr bwMode="auto">
              <a:xfrm>
                <a:off x="3311"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1" name="Rectangle 433">
                <a:extLst>
                  <a:ext uri="{FF2B5EF4-FFF2-40B4-BE49-F238E27FC236}">
                    <a16:creationId xmlns:a16="http://schemas.microsoft.com/office/drawing/2014/main" id="{B584D504-6E8D-4CC0-8CC9-76903AEE0486}"/>
                  </a:ext>
                </a:extLst>
              </p:cNvPr>
              <p:cNvSpPr>
                <a:spLocks noChangeArrowheads="1"/>
              </p:cNvSpPr>
              <p:nvPr/>
            </p:nvSpPr>
            <p:spPr bwMode="auto">
              <a:xfrm>
                <a:off x="3370" y="1342"/>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2" name="Rectangle 434">
                <a:extLst>
                  <a:ext uri="{FF2B5EF4-FFF2-40B4-BE49-F238E27FC236}">
                    <a16:creationId xmlns:a16="http://schemas.microsoft.com/office/drawing/2014/main" id="{9CBFB1AB-B49F-4C84-A813-FC8FE8D248A3}"/>
                  </a:ext>
                </a:extLst>
              </p:cNvPr>
              <p:cNvSpPr>
                <a:spLocks noChangeArrowheads="1"/>
              </p:cNvSpPr>
              <p:nvPr/>
            </p:nvSpPr>
            <p:spPr bwMode="auto">
              <a:xfrm>
                <a:off x="2198"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3" name="Rectangle 435">
                <a:extLst>
                  <a:ext uri="{FF2B5EF4-FFF2-40B4-BE49-F238E27FC236}">
                    <a16:creationId xmlns:a16="http://schemas.microsoft.com/office/drawing/2014/main" id="{B6D19DEE-68EB-4046-9605-01A492A42A4A}"/>
                  </a:ext>
                </a:extLst>
              </p:cNvPr>
              <p:cNvSpPr>
                <a:spLocks noChangeArrowheads="1"/>
              </p:cNvSpPr>
              <p:nvPr/>
            </p:nvSpPr>
            <p:spPr bwMode="auto">
              <a:xfrm>
                <a:off x="2226"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4" name="Rectangle 436">
                <a:extLst>
                  <a:ext uri="{FF2B5EF4-FFF2-40B4-BE49-F238E27FC236}">
                    <a16:creationId xmlns:a16="http://schemas.microsoft.com/office/drawing/2014/main" id="{4B632830-F3F3-4CF9-A9B3-A93314C6F293}"/>
                  </a:ext>
                </a:extLst>
              </p:cNvPr>
              <p:cNvSpPr>
                <a:spLocks noChangeArrowheads="1"/>
              </p:cNvSpPr>
              <p:nvPr/>
            </p:nvSpPr>
            <p:spPr bwMode="auto">
              <a:xfrm>
                <a:off x="2257"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5" name="Rectangle 437">
                <a:extLst>
                  <a:ext uri="{FF2B5EF4-FFF2-40B4-BE49-F238E27FC236}">
                    <a16:creationId xmlns:a16="http://schemas.microsoft.com/office/drawing/2014/main" id="{E9F97175-6B12-4123-9D9B-DBE288C545C8}"/>
                  </a:ext>
                </a:extLst>
              </p:cNvPr>
              <p:cNvSpPr>
                <a:spLocks noChangeArrowheads="1"/>
              </p:cNvSpPr>
              <p:nvPr/>
            </p:nvSpPr>
            <p:spPr bwMode="auto">
              <a:xfrm>
                <a:off x="2462"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6" name="Rectangle 438">
                <a:extLst>
                  <a:ext uri="{FF2B5EF4-FFF2-40B4-BE49-F238E27FC236}">
                    <a16:creationId xmlns:a16="http://schemas.microsoft.com/office/drawing/2014/main" id="{C6B9D78B-60EA-4051-8854-B3E584B25A02}"/>
                  </a:ext>
                </a:extLst>
              </p:cNvPr>
              <p:cNvSpPr>
                <a:spLocks noChangeArrowheads="1"/>
              </p:cNvSpPr>
              <p:nvPr/>
            </p:nvSpPr>
            <p:spPr bwMode="auto">
              <a:xfrm>
                <a:off x="249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7" name="Rectangle 439">
                <a:extLst>
                  <a:ext uri="{FF2B5EF4-FFF2-40B4-BE49-F238E27FC236}">
                    <a16:creationId xmlns:a16="http://schemas.microsoft.com/office/drawing/2014/main" id="{ECDD471D-7137-4FA3-91A6-93DB5A237F10}"/>
                  </a:ext>
                </a:extLst>
              </p:cNvPr>
              <p:cNvSpPr>
                <a:spLocks noChangeArrowheads="1"/>
              </p:cNvSpPr>
              <p:nvPr/>
            </p:nvSpPr>
            <p:spPr bwMode="auto">
              <a:xfrm>
                <a:off x="2550"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8" name="Rectangle 440">
                <a:extLst>
                  <a:ext uri="{FF2B5EF4-FFF2-40B4-BE49-F238E27FC236}">
                    <a16:creationId xmlns:a16="http://schemas.microsoft.com/office/drawing/2014/main" id="{62E3BCC2-6D8A-4492-B145-015FB89505C4}"/>
                  </a:ext>
                </a:extLst>
              </p:cNvPr>
              <p:cNvSpPr>
                <a:spLocks noChangeArrowheads="1"/>
              </p:cNvSpPr>
              <p:nvPr/>
            </p:nvSpPr>
            <p:spPr bwMode="auto">
              <a:xfrm>
                <a:off x="2606"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9" name="Rectangle 441">
                <a:extLst>
                  <a:ext uri="{FF2B5EF4-FFF2-40B4-BE49-F238E27FC236}">
                    <a16:creationId xmlns:a16="http://schemas.microsoft.com/office/drawing/2014/main" id="{CD472AA9-30D3-4BDF-B50B-0EE1310D61AE}"/>
                  </a:ext>
                </a:extLst>
              </p:cNvPr>
              <p:cNvSpPr>
                <a:spLocks noChangeArrowheads="1"/>
              </p:cNvSpPr>
              <p:nvPr/>
            </p:nvSpPr>
            <p:spPr bwMode="auto">
              <a:xfrm>
                <a:off x="2665"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0" name="Rectangle 442">
                <a:extLst>
                  <a:ext uri="{FF2B5EF4-FFF2-40B4-BE49-F238E27FC236}">
                    <a16:creationId xmlns:a16="http://schemas.microsoft.com/office/drawing/2014/main" id="{CC1AD722-E265-4192-A3FD-2AACE3D9E102}"/>
                  </a:ext>
                </a:extLst>
              </p:cNvPr>
              <p:cNvSpPr>
                <a:spLocks noChangeArrowheads="1"/>
              </p:cNvSpPr>
              <p:nvPr/>
            </p:nvSpPr>
            <p:spPr bwMode="auto">
              <a:xfrm>
                <a:off x="2725"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1" name="Rectangle 443">
                <a:extLst>
                  <a:ext uri="{FF2B5EF4-FFF2-40B4-BE49-F238E27FC236}">
                    <a16:creationId xmlns:a16="http://schemas.microsoft.com/office/drawing/2014/main" id="{98C9971D-C0FA-4536-8349-9EB46106EFB6}"/>
                  </a:ext>
                </a:extLst>
              </p:cNvPr>
              <p:cNvSpPr>
                <a:spLocks noChangeArrowheads="1"/>
              </p:cNvSpPr>
              <p:nvPr/>
            </p:nvSpPr>
            <p:spPr bwMode="auto">
              <a:xfrm>
                <a:off x="2784"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2" name="Rectangle 444">
                <a:extLst>
                  <a:ext uri="{FF2B5EF4-FFF2-40B4-BE49-F238E27FC236}">
                    <a16:creationId xmlns:a16="http://schemas.microsoft.com/office/drawing/2014/main" id="{49079119-065F-473C-9C73-398EFD1F350E}"/>
                  </a:ext>
                </a:extLst>
              </p:cNvPr>
              <p:cNvSpPr>
                <a:spLocks noChangeArrowheads="1"/>
              </p:cNvSpPr>
              <p:nvPr/>
            </p:nvSpPr>
            <p:spPr bwMode="auto">
              <a:xfrm>
                <a:off x="2843"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3" name="Rectangle 445">
                <a:extLst>
                  <a:ext uri="{FF2B5EF4-FFF2-40B4-BE49-F238E27FC236}">
                    <a16:creationId xmlns:a16="http://schemas.microsoft.com/office/drawing/2014/main" id="{54A90FC3-AD45-4810-A734-8F22A2324757}"/>
                  </a:ext>
                </a:extLst>
              </p:cNvPr>
              <p:cNvSpPr>
                <a:spLocks noChangeArrowheads="1"/>
              </p:cNvSpPr>
              <p:nvPr/>
            </p:nvSpPr>
            <p:spPr bwMode="auto">
              <a:xfrm>
                <a:off x="287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4" name="Rectangle 446">
                <a:extLst>
                  <a:ext uri="{FF2B5EF4-FFF2-40B4-BE49-F238E27FC236}">
                    <a16:creationId xmlns:a16="http://schemas.microsoft.com/office/drawing/2014/main" id="{3ACE3252-5441-4384-BD82-B2E67D22CC26}"/>
                  </a:ext>
                </a:extLst>
              </p:cNvPr>
              <p:cNvSpPr>
                <a:spLocks noChangeArrowheads="1"/>
              </p:cNvSpPr>
              <p:nvPr/>
            </p:nvSpPr>
            <p:spPr bwMode="auto">
              <a:xfrm>
                <a:off x="2930"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5" name="Rectangle 447">
                <a:extLst>
                  <a:ext uri="{FF2B5EF4-FFF2-40B4-BE49-F238E27FC236}">
                    <a16:creationId xmlns:a16="http://schemas.microsoft.com/office/drawing/2014/main" id="{7CA6B1C8-74FD-4986-8D10-49CB4A4BCACB}"/>
                  </a:ext>
                </a:extLst>
              </p:cNvPr>
              <p:cNvSpPr>
                <a:spLocks noChangeArrowheads="1"/>
              </p:cNvSpPr>
              <p:nvPr/>
            </p:nvSpPr>
            <p:spPr bwMode="auto">
              <a:xfrm>
                <a:off x="2958"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6" name="Rectangle 448">
                <a:extLst>
                  <a:ext uri="{FF2B5EF4-FFF2-40B4-BE49-F238E27FC236}">
                    <a16:creationId xmlns:a16="http://schemas.microsoft.com/office/drawing/2014/main" id="{B62E69A0-293D-4390-938E-9E137AD0F269}"/>
                  </a:ext>
                </a:extLst>
              </p:cNvPr>
              <p:cNvSpPr>
                <a:spLocks noChangeArrowheads="1"/>
              </p:cNvSpPr>
              <p:nvPr/>
            </p:nvSpPr>
            <p:spPr bwMode="auto">
              <a:xfrm>
                <a:off x="2989"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7" name="Rectangle 449">
                <a:extLst>
                  <a:ext uri="{FF2B5EF4-FFF2-40B4-BE49-F238E27FC236}">
                    <a16:creationId xmlns:a16="http://schemas.microsoft.com/office/drawing/2014/main" id="{AA5C3D13-BB45-4C7B-BA21-4F6B1A8F3CA3}"/>
                  </a:ext>
                </a:extLst>
              </p:cNvPr>
              <p:cNvSpPr>
                <a:spLocks noChangeArrowheads="1"/>
              </p:cNvSpPr>
              <p:nvPr/>
            </p:nvSpPr>
            <p:spPr bwMode="auto">
              <a:xfrm>
                <a:off x="3105"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8" name="Rectangle 450">
                <a:extLst>
                  <a:ext uri="{FF2B5EF4-FFF2-40B4-BE49-F238E27FC236}">
                    <a16:creationId xmlns:a16="http://schemas.microsoft.com/office/drawing/2014/main" id="{F843B127-3DD7-4CF2-819C-413CC767A187}"/>
                  </a:ext>
                </a:extLst>
              </p:cNvPr>
              <p:cNvSpPr>
                <a:spLocks noChangeArrowheads="1"/>
              </p:cNvSpPr>
              <p:nvPr/>
            </p:nvSpPr>
            <p:spPr bwMode="auto">
              <a:xfrm>
                <a:off x="3164"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9" name="Rectangle 451">
                <a:extLst>
                  <a:ext uri="{FF2B5EF4-FFF2-40B4-BE49-F238E27FC236}">
                    <a16:creationId xmlns:a16="http://schemas.microsoft.com/office/drawing/2014/main" id="{D20D8F8A-B13E-4A70-B8C2-685153C29257}"/>
                  </a:ext>
                </a:extLst>
              </p:cNvPr>
              <p:cNvSpPr>
                <a:spLocks noChangeArrowheads="1"/>
              </p:cNvSpPr>
              <p:nvPr/>
            </p:nvSpPr>
            <p:spPr bwMode="auto">
              <a:xfrm>
                <a:off x="3192"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0" name="Rectangle 452">
                <a:extLst>
                  <a:ext uri="{FF2B5EF4-FFF2-40B4-BE49-F238E27FC236}">
                    <a16:creationId xmlns:a16="http://schemas.microsoft.com/office/drawing/2014/main" id="{CB4A7E76-F322-44BE-90FD-5655FED60066}"/>
                  </a:ext>
                </a:extLst>
              </p:cNvPr>
              <p:cNvSpPr>
                <a:spLocks noChangeArrowheads="1"/>
              </p:cNvSpPr>
              <p:nvPr/>
            </p:nvSpPr>
            <p:spPr bwMode="auto">
              <a:xfrm>
                <a:off x="3223"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1" name="Rectangle 453">
                <a:extLst>
                  <a:ext uri="{FF2B5EF4-FFF2-40B4-BE49-F238E27FC236}">
                    <a16:creationId xmlns:a16="http://schemas.microsoft.com/office/drawing/2014/main" id="{15CB98E6-43A5-4EC6-891D-7EF3813F327B}"/>
                  </a:ext>
                </a:extLst>
              </p:cNvPr>
              <p:cNvSpPr>
                <a:spLocks noChangeArrowheads="1"/>
              </p:cNvSpPr>
              <p:nvPr/>
            </p:nvSpPr>
            <p:spPr bwMode="auto">
              <a:xfrm>
                <a:off x="3251" y="1371"/>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2" name="Rectangle 454">
                <a:extLst>
                  <a:ext uri="{FF2B5EF4-FFF2-40B4-BE49-F238E27FC236}">
                    <a16:creationId xmlns:a16="http://schemas.microsoft.com/office/drawing/2014/main" id="{7DDC3FF5-F2B6-4871-9A50-E9646829D9E9}"/>
                  </a:ext>
                </a:extLst>
              </p:cNvPr>
              <p:cNvSpPr>
                <a:spLocks noChangeArrowheads="1"/>
              </p:cNvSpPr>
              <p:nvPr/>
            </p:nvSpPr>
            <p:spPr bwMode="auto">
              <a:xfrm>
                <a:off x="3311" y="1371"/>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3" name="Rectangle 455">
                <a:extLst>
                  <a:ext uri="{FF2B5EF4-FFF2-40B4-BE49-F238E27FC236}">
                    <a16:creationId xmlns:a16="http://schemas.microsoft.com/office/drawing/2014/main" id="{0B9D093B-6E56-43BD-9317-203D35D83A8E}"/>
                  </a:ext>
                </a:extLst>
              </p:cNvPr>
              <p:cNvSpPr>
                <a:spLocks noChangeArrowheads="1"/>
              </p:cNvSpPr>
              <p:nvPr/>
            </p:nvSpPr>
            <p:spPr bwMode="auto">
              <a:xfrm>
                <a:off x="3339" y="1371"/>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4" name="Rectangle 456">
                <a:extLst>
                  <a:ext uri="{FF2B5EF4-FFF2-40B4-BE49-F238E27FC236}">
                    <a16:creationId xmlns:a16="http://schemas.microsoft.com/office/drawing/2014/main" id="{7E6BFEC4-FC1F-4E1A-AF2C-4C3768499FA4}"/>
                  </a:ext>
                </a:extLst>
              </p:cNvPr>
              <p:cNvSpPr>
                <a:spLocks noChangeArrowheads="1"/>
              </p:cNvSpPr>
              <p:nvPr/>
            </p:nvSpPr>
            <p:spPr bwMode="auto">
              <a:xfrm>
                <a:off x="225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5" name="Rectangle 457">
                <a:extLst>
                  <a:ext uri="{FF2B5EF4-FFF2-40B4-BE49-F238E27FC236}">
                    <a16:creationId xmlns:a16="http://schemas.microsoft.com/office/drawing/2014/main" id="{1680DE9F-9465-4E9D-B700-A99F67164811}"/>
                  </a:ext>
                </a:extLst>
              </p:cNvPr>
              <p:cNvSpPr>
                <a:spLocks noChangeArrowheads="1"/>
              </p:cNvSpPr>
              <p:nvPr/>
            </p:nvSpPr>
            <p:spPr bwMode="auto">
              <a:xfrm>
                <a:off x="2316"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6" name="Rectangle 458">
                <a:extLst>
                  <a:ext uri="{FF2B5EF4-FFF2-40B4-BE49-F238E27FC236}">
                    <a16:creationId xmlns:a16="http://schemas.microsoft.com/office/drawing/2014/main" id="{A1D9D7CC-3BA7-46A2-A3CB-6328F3C99066}"/>
                  </a:ext>
                </a:extLst>
              </p:cNvPr>
              <p:cNvSpPr>
                <a:spLocks noChangeArrowheads="1"/>
              </p:cNvSpPr>
              <p:nvPr/>
            </p:nvSpPr>
            <p:spPr bwMode="auto">
              <a:xfrm>
                <a:off x="237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7" name="Rectangle 459">
                <a:extLst>
                  <a:ext uri="{FF2B5EF4-FFF2-40B4-BE49-F238E27FC236}">
                    <a16:creationId xmlns:a16="http://schemas.microsoft.com/office/drawing/2014/main" id="{63853F92-A922-42F5-8586-743C7277C9A1}"/>
                  </a:ext>
                </a:extLst>
              </p:cNvPr>
              <p:cNvSpPr>
                <a:spLocks noChangeArrowheads="1"/>
              </p:cNvSpPr>
              <p:nvPr/>
            </p:nvSpPr>
            <p:spPr bwMode="auto">
              <a:xfrm>
                <a:off x="2606"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8" name="Rectangle 460">
                <a:extLst>
                  <a:ext uri="{FF2B5EF4-FFF2-40B4-BE49-F238E27FC236}">
                    <a16:creationId xmlns:a16="http://schemas.microsoft.com/office/drawing/2014/main" id="{923CD7D8-B2A2-419B-B5E0-48E38B7C477F}"/>
                  </a:ext>
                </a:extLst>
              </p:cNvPr>
              <p:cNvSpPr>
                <a:spLocks noChangeArrowheads="1"/>
              </p:cNvSpPr>
              <p:nvPr/>
            </p:nvSpPr>
            <p:spPr bwMode="auto">
              <a:xfrm>
                <a:off x="263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9" name="Rectangle 461">
                <a:extLst>
                  <a:ext uri="{FF2B5EF4-FFF2-40B4-BE49-F238E27FC236}">
                    <a16:creationId xmlns:a16="http://schemas.microsoft.com/office/drawing/2014/main" id="{402B8EB7-149F-4F41-A525-3D1DD642888F}"/>
                  </a:ext>
                </a:extLst>
              </p:cNvPr>
              <p:cNvSpPr>
                <a:spLocks noChangeArrowheads="1"/>
              </p:cNvSpPr>
              <p:nvPr/>
            </p:nvSpPr>
            <p:spPr bwMode="auto">
              <a:xfrm>
                <a:off x="2665"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0" name="Rectangle 462">
                <a:extLst>
                  <a:ext uri="{FF2B5EF4-FFF2-40B4-BE49-F238E27FC236}">
                    <a16:creationId xmlns:a16="http://schemas.microsoft.com/office/drawing/2014/main" id="{D3374EBA-A136-4976-9D0A-0F30E0F4BC22}"/>
                  </a:ext>
                </a:extLst>
              </p:cNvPr>
              <p:cNvSpPr>
                <a:spLocks noChangeArrowheads="1"/>
              </p:cNvSpPr>
              <p:nvPr/>
            </p:nvSpPr>
            <p:spPr bwMode="auto">
              <a:xfrm>
                <a:off x="2696" y="1401"/>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1" name="Rectangle 463">
                <a:extLst>
                  <a:ext uri="{FF2B5EF4-FFF2-40B4-BE49-F238E27FC236}">
                    <a16:creationId xmlns:a16="http://schemas.microsoft.com/office/drawing/2014/main" id="{EC3620DD-5A3E-4C0C-9339-C423E280ED00}"/>
                  </a:ext>
                </a:extLst>
              </p:cNvPr>
              <p:cNvSpPr>
                <a:spLocks noChangeArrowheads="1"/>
              </p:cNvSpPr>
              <p:nvPr/>
            </p:nvSpPr>
            <p:spPr bwMode="auto">
              <a:xfrm>
                <a:off x="2725"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2" name="Rectangle 464">
                <a:extLst>
                  <a:ext uri="{FF2B5EF4-FFF2-40B4-BE49-F238E27FC236}">
                    <a16:creationId xmlns:a16="http://schemas.microsoft.com/office/drawing/2014/main" id="{14D8399B-A6A8-4777-9ACF-1C4597A763D9}"/>
                  </a:ext>
                </a:extLst>
              </p:cNvPr>
              <p:cNvSpPr>
                <a:spLocks noChangeArrowheads="1"/>
              </p:cNvSpPr>
              <p:nvPr/>
            </p:nvSpPr>
            <p:spPr bwMode="auto">
              <a:xfrm>
                <a:off x="2784"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3" name="Rectangle 465">
                <a:extLst>
                  <a:ext uri="{FF2B5EF4-FFF2-40B4-BE49-F238E27FC236}">
                    <a16:creationId xmlns:a16="http://schemas.microsoft.com/office/drawing/2014/main" id="{CCC001E4-FD3A-47F7-87C9-3C5EAC4E05BF}"/>
                  </a:ext>
                </a:extLst>
              </p:cNvPr>
              <p:cNvSpPr>
                <a:spLocks noChangeArrowheads="1"/>
              </p:cNvSpPr>
              <p:nvPr/>
            </p:nvSpPr>
            <p:spPr bwMode="auto">
              <a:xfrm>
                <a:off x="281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4" name="Rectangle 466">
                <a:extLst>
                  <a:ext uri="{FF2B5EF4-FFF2-40B4-BE49-F238E27FC236}">
                    <a16:creationId xmlns:a16="http://schemas.microsoft.com/office/drawing/2014/main" id="{D4E0CA2C-0AF4-4F55-8DFD-7FA985A2F55F}"/>
                  </a:ext>
                </a:extLst>
              </p:cNvPr>
              <p:cNvSpPr>
                <a:spLocks noChangeArrowheads="1"/>
              </p:cNvSpPr>
              <p:nvPr/>
            </p:nvSpPr>
            <p:spPr bwMode="auto">
              <a:xfrm>
                <a:off x="2930"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5" name="Rectangle 467">
                <a:extLst>
                  <a:ext uri="{FF2B5EF4-FFF2-40B4-BE49-F238E27FC236}">
                    <a16:creationId xmlns:a16="http://schemas.microsoft.com/office/drawing/2014/main" id="{040400D0-53DE-4326-8FFC-DA120A8AE24D}"/>
                  </a:ext>
                </a:extLst>
              </p:cNvPr>
              <p:cNvSpPr>
                <a:spLocks noChangeArrowheads="1"/>
              </p:cNvSpPr>
              <p:nvPr/>
            </p:nvSpPr>
            <p:spPr bwMode="auto">
              <a:xfrm>
                <a:off x="2958"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6" name="Rectangle 468">
                <a:extLst>
                  <a:ext uri="{FF2B5EF4-FFF2-40B4-BE49-F238E27FC236}">
                    <a16:creationId xmlns:a16="http://schemas.microsoft.com/office/drawing/2014/main" id="{B15BE910-A648-4E4F-A7B9-CA5C0AEE3F12}"/>
                  </a:ext>
                </a:extLst>
              </p:cNvPr>
              <p:cNvSpPr>
                <a:spLocks noChangeArrowheads="1"/>
              </p:cNvSpPr>
              <p:nvPr/>
            </p:nvSpPr>
            <p:spPr bwMode="auto">
              <a:xfrm>
                <a:off x="2989" y="1401"/>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7" name="Rectangle 469">
                <a:extLst>
                  <a:ext uri="{FF2B5EF4-FFF2-40B4-BE49-F238E27FC236}">
                    <a16:creationId xmlns:a16="http://schemas.microsoft.com/office/drawing/2014/main" id="{EFF15A7D-D178-4C61-8C9F-97F4F1CDAA43}"/>
                  </a:ext>
                </a:extLst>
              </p:cNvPr>
              <p:cNvSpPr>
                <a:spLocks noChangeArrowheads="1"/>
              </p:cNvSpPr>
              <p:nvPr/>
            </p:nvSpPr>
            <p:spPr bwMode="auto">
              <a:xfrm>
                <a:off x="3077"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8" name="Rectangle 470">
                <a:extLst>
                  <a:ext uri="{FF2B5EF4-FFF2-40B4-BE49-F238E27FC236}">
                    <a16:creationId xmlns:a16="http://schemas.microsoft.com/office/drawing/2014/main" id="{708FACDE-2977-4506-B503-6A2B6937ADF8}"/>
                  </a:ext>
                </a:extLst>
              </p:cNvPr>
              <p:cNvSpPr>
                <a:spLocks noChangeArrowheads="1"/>
              </p:cNvSpPr>
              <p:nvPr/>
            </p:nvSpPr>
            <p:spPr bwMode="auto">
              <a:xfrm>
                <a:off x="3133"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9" name="Rectangle 471">
                <a:extLst>
                  <a:ext uri="{FF2B5EF4-FFF2-40B4-BE49-F238E27FC236}">
                    <a16:creationId xmlns:a16="http://schemas.microsoft.com/office/drawing/2014/main" id="{8360D0D3-0E55-4C2B-9D21-A47B0D6E298C}"/>
                  </a:ext>
                </a:extLst>
              </p:cNvPr>
              <p:cNvSpPr>
                <a:spLocks noChangeArrowheads="1"/>
              </p:cNvSpPr>
              <p:nvPr/>
            </p:nvSpPr>
            <p:spPr bwMode="auto">
              <a:xfrm>
                <a:off x="3192" y="1401"/>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0" name="Rectangle 472">
                <a:extLst>
                  <a:ext uri="{FF2B5EF4-FFF2-40B4-BE49-F238E27FC236}">
                    <a16:creationId xmlns:a16="http://schemas.microsoft.com/office/drawing/2014/main" id="{3A986F71-7B98-47C6-8FCE-1C6992C52AD5}"/>
                  </a:ext>
                </a:extLst>
              </p:cNvPr>
              <p:cNvSpPr>
                <a:spLocks noChangeArrowheads="1"/>
              </p:cNvSpPr>
              <p:nvPr/>
            </p:nvSpPr>
            <p:spPr bwMode="auto">
              <a:xfrm>
                <a:off x="3311" y="1401"/>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1" name="Rectangle 473">
                <a:extLst>
                  <a:ext uri="{FF2B5EF4-FFF2-40B4-BE49-F238E27FC236}">
                    <a16:creationId xmlns:a16="http://schemas.microsoft.com/office/drawing/2014/main" id="{8DAE7F0D-023A-4643-96D9-FEDBCE0C58BC}"/>
                  </a:ext>
                </a:extLst>
              </p:cNvPr>
              <p:cNvSpPr>
                <a:spLocks noChangeArrowheads="1"/>
              </p:cNvSpPr>
              <p:nvPr/>
            </p:nvSpPr>
            <p:spPr bwMode="auto">
              <a:xfrm>
                <a:off x="2198"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2" name="Rectangle 474">
                <a:extLst>
                  <a:ext uri="{FF2B5EF4-FFF2-40B4-BE49-F238E27FC236}">
                    <a16:creationId xmlns:a16="http://schemas.microsoft.com/office/drawing/2014/main" id="{74DADFBF-1440-4CBC-9802-5044AA798C54}"/>
                  </a:ext>
                </a:extLst>
              </p:cNvPr>
              <p:cNvSpPr>
                <a:spLocks noChangeArrowheads="1"/>
              </p:cNvSpPr>
              <p:nvPr/>
            </p:nvSpPr>
            <p:spPr bwMode="auto">
              <a:xfrm>
                <a:off x="2226"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3" name="Rectangle 475">
                <a:extLst>
                  <a:ext uri="{FF2B5EF4-FFF2-40B4-BE49-F238E27FC236}">
                    <a16:creationId xmlns:a16="http://schemas.microsoft.com/office/drawing/2014/main" id="{BAC2991B-C700-430A-AA59-7B8CDF6BDE79}"/>
                  </a:ext>
                </a:extLst>
              </p:cNvPr>
              <p:cNvSpPr>
                <a:spLocks noChangeArrowheads="1"/>
              </p:cNvSpPr>
              <p:nvPr/>
            </p:nvSpPr>
            <p:spPr bwMode="auto">
              <a:xfrm>
                <a:off x="2257"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4" name="Rectangle 476">
                <a:extLst>
                  <a:ext uri="{FF2B5EF4-FFF2-40B4-BE49-F238E27FC236}">
                    <a16:creationId xmlns:a16="http://schemas.microsoft.com/office/drawing/2014/main" id="{C05A5193-C3CE-4B58-B0F4-2CA15F64E83A}"/>
                  </a:ext>
                </a:extLst>
              </p:cNvPr>
              <p:cNvSpPr>
                <a:spLocks noChangeArrowheads="1"/>
              </p:cNvSpPr>
              <p:nvPr/>
            </p:nvSpPr>
            <p:spPr bwMode="auto">
              <a:xfrm>
                <a:off x="2285"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5" name="Rectangle 477">
                <a:extLst>
                  <a:ext uri="{FF2B5EF4-FFF2-40B4-BE49-F238E27FC236}">
                    <a16:creationId xmlns:a16="http://schemas.microsoft.com/office/drawing/2014/main" id="{FBE53950-F13A-4ECE-9535-15EA04D33383}"/>
                  </a:ext>
                </a:extLst>
              </p:cNvPr>
              <p:cNvSpPr>
                <a:spLocks noChangeArrowheads="1"/>
              </p:cNvSpPr>
              <p:nvPr/>
            </p:nvSpPr>
            <p:spPr bwMode="auto">
              <a:xfrm>
                <a:off x="2316"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6" name="Rectangle 478">
                <a:extLst>
                  <a:ext uri="{FF2B5EF4-FFF2-40B4-BE49-F238E27FC236}">
                    <a16:creationId xmlns:a16="http://schemas.microsoft.com/office/drawing/2014/main" id="{5C92667C-F1F1-4700-ACD4-F1258F27B37A}"/>
                  </a:ext>
                </a:extLst>
              </p:cNvPr>
              <p:cNvSpPr>
                <a:spLocks noChangeArrowheads="1"/>
              </p:cNvSpPr>
              <p:nvPr/>
            </p:nvSpPr>
            <p:spPr bwMode="auto">
              <a:xfrm>
                <a:off x="2431"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7" name="Rectangle 479">
                <a:extLst>
                  <a:ext uri="{FF2B5EF4-FFF2-40B4-BE49-F238E27FC236}">
                    <a16:creationId xmlns:a16="http://schemas.microsoft.com/office/drawing/2014/main" id="{8AF36CAD-0664-4130-A3E8-E3504294DFF8}"/>
                  </a:ext>
                </a:extLst>
              </p:cNvPr>
              <p:cNvSpPr>
                <a:spLocks noChangeArrowheads="1"/>
              </p:cNvSpPr>
              <p:nvPr/>
            </p:nvSpPr>
            <p:spPr bwMode="auto">
              <a:xfrm>
                <a:off x="2462"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8" name="Rectangle 480">
                <a:extLst>
                  <a:ext uri="{FF2B5EF4-FFF2-40B4-BE49-F238E27FC236}">
                    <a16:creationId xmlns:a16="http://schemas.microsoft.com/office/drawing/2014/main" id="{743BE30C-101C-40D7-80D8-9AB6A9BC43E5}"/>
                  </a:ext>
                </a:extLst>
              </p:cNvPr>
              <p:cNvSpPr>
                <a:spLocks noChangeArrowheads="1"/>
              </p:cNvSpPr>
              <p:nvPr/>
            </p:nvSpPr>
            <p:spPr bwMode="auto">
              <a:xfrm>
                <a:off x="2550"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9" name="Rectangle 481">
                <a:extLst>
                  <a:ext uri="{FF2B5EF4-FFF2-40B4-BE49-F238E27FC236}">
                    <a16:creationId xmlns:a16="http://schemas.microsoft.com/office/drawing/2014/main" id="{90675DDB-1FD5-492F-8D0F-6CEBA43FF16D}"/>
                  </a:ext>
                </a:extLst>
              </p:cNvPr>
              <p:cNvSpPr>
                <a:spLocks noChangeArrowheads="1"/>
              </p:cNvSpPr>
              <p:nvPr/>
            </p:nvSpPr>
            <p:spPr bwMode="auto">
              <a:xfrm>
                <a:off x="2784"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0" name="Rectangle 482">
                <a:extLst>
                  <a:ext uri="{FF2B5EF4-FFF2-40B4-BE49-F238E27FC236}">
                    <a16:creationId xmlns:a16="http://schemas.microsoft.com/office/drawing/2014/main" id="{6E16E285-64AA-4910-9379-3A808F95F0C3}"/>
                  </a:ext>
                </a:extLst>
              </p:cNvPr>
              <p:cNvSpPr>
                <a:spLocks noChangeArrowheads="1"/>
              </p:cNvSpPr>
              <p:nvPr/>
            </p:nvSpPr>
            <p:spPr bwMode="auto">
              <a:xfrm>
                <a:off x="2871"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1" name="Rectangle 483">
                <a:extLst>
                  <a:ext uri="{FF2B5EF4-FFF2-40B4-BE49-F238E27FC236}">
                    <a16:creationId xmlns:a16="http://schemas.microsoft.com/office/drawing/2014/main" id="{36F1B1BE-6B82-47AD-AA7E-1BFBDFFB8A06}"/>
                  </a:ext>
                </a:extLst>
              </p:cNvPr>
              <p:cNvSpPr>
                <a:spLocks noChangeArrowheads="1"/>
              </p:cNvSpPr>
              <p:nvPr/>
            </p:nvSpPr>
            <p:spPr bwMode="auto">
              <a:xfrm>
                <a:off x="2958"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2" name="Rectangle 484">
                <a:extLst>
                  <a:ext uri="{FF2B5EF4-FFF2-40B4-BE49-F238E27FC236}">
                    <a16:creationId xmlns:a16="http://schemas.microsoft.com/office/drawing/2014/main" id="{3A99C459-C3CA-4BE6-9029-5E11739C9C7F}"/>
                  </a:ext>
                </a:extLst>
              </p:cNvPr>
              <p:cNvSpPr>
                <a:spLocks noChangeArrowheads="1"/>
              </p:cNvSpPr>
              <p:nvPr/>
            </p:nvSpPr>
            <p:spPr bwMode="auto">
              <a:xfrm>
                <a:off x="2989"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3" name="Rectangle 485">
                <a:extLst>
                  <a:ext uri="{FF2B5EF4-FFF2-40B4-BE49-F238E27FC236}">
                    <a16:creationId xmlns:a16="http://schemas.microsoft.com/office/drawing/2014/main" id="{48D1C673-FA43-4764-BC91-97F24CCC760D}"/>
                  </a:ext>
                </a:extLst>
              </p:cNvPr>
              <p:cNvSpPr>
                <a:spLocks noChangeArrowheads="1"/>
              </p:cNvSpPr>
              <p:nvPr/>
            </p:nvSpPr>
            <p:spPr bwMode="auto">
              <a:xfrm>
                <a:off x="3018"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4" name="Rectangle 486">
                <a:extLst>
                  <a:ext uri="{FF2B5EF4-FFF2-40B4-BE49-F238E27FC236}">
                    <a16:creationId xmlns:a16="http://schemas.microsoft.com/office/drawing/2014/main" id="{96294CB0-2763-4FE9-869A-7C9307AEE63E}"/>
                  </a:ext>
                </a:extLst>
              </p:cNvPr>
              <p:cNvSpPr>
                <a:spLocks noChangeArrowheads="1"/>
              </p:cNvSpPr>
              <p:nvPr/>
            </p:nvSpPr>
            <p:spPr bwMode="auto">
              <a:xfrm>
                <a:off x="3133"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5" name="Rectangle 487">
                <a:extLst>
                  <a:ext uri="{FF2B5EF4-FFF2-40B4-BE49-F238E27FC236}">
                    <a16:creationId xmlns:a16="http://schemas.microsoft.com/office/drawing/2014/main" id="{F6B2B440-A73E-4A8A-B488-321C7326FB7F}"/>
                  </a:ext>
                </a:extLst>
              </p:cNvPr>
              <p:cNvSpPr>
                <a:spLocks noChangeArrowheads="1"/>
              </p:cNvSpPr>
              <p:nvPr/>
            </p:nvSpPr>
            <p:spPr bwMode="auto">
              <a:xfrm>
                <a:off x="3192"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6" name="Rectangle 488">
                <a:extLst>
                  <a:ext uri="{FF2B5EF4-FFF2-40B4-BE49-F238E27FC236}">
                    <a16:creationId xmlns:a16="http://schemas.microsoft.com/office/drawing/2014/main" id="{814EF1DC-CE27-4C3D-A8CB-F83D44F2D73A}"/>
                  </a:ext>
                </a:extLst>
              </p:cNvPr>
              <p:cNvSpPr>
                <a:spLocks noChangeArrowheads="1"/>
              </p:cNvSpPr>
              <p:nvPr/>
            </p:nvSpPr>
            <p:spPr bwMode="auto">
              <a:xfrm>
                <a:off x="3223" y="143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7" name="Rectangle 489">
                <a:extLst>
                  <a:ext uri="{FF2B5EF4-FFF2-40B4-BE49-F238E27FC236}">
                    <a16:creationId xmlns:a16="http://schemas.microsoft.com/office/drawing/2014/main" id="{97F7CE70-9296-434E-AB54-51059CEFE77D}"/>
                  </a:ext>
                </a:extLst>
              </p:cNvPr>
              <p:cNvSpPr>
                <a:spLocks noChangeArrowheads="1"/>
              </p:cNvSpPr>
              <p:nvPr/>
            </p:nvSpPr>
            <p:spPr bwMode="auto">
              <a:xfrm>
                <a:off x="3251" y="143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8" name="Rectangle 490">
                <a:extLst>
                  <a:ext uri="{FF2B5EF4-FFF2-40B4-BE49-F238E27FC236}">
                    <a16:creationId xmlns:a16="http://schemas.microsoft.com/office/drawing/2014/main" id="{6C0F963C-A5E7-46C0-85DB-22051A87E35E}"/>
                  </a:ext>
                </a:extLst>
              </p:cNvPr>
              <p:cNvSpPr>
                <a:spLocks noChangeArrowheads="1"/>
              </p:cNvSpPr>
              <p:nvPr/>
            </p:nvSpPr>
            <p:spPr bwMode="auto">
              <a:xfrm>
                <a:off x="3280" y="143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9" name="Rectangle 491">
                <a:extLst>
                  <a:ext uri="{FF2B5EF4-FFF2-40B4-BE49-F238E27FC236}">
                    <a16:creationId xmlns:a16="http://schemas.microsoft.com/office/drawing/2014/main" id="{17DA077C-9521-4EFB-B52A-5257B2CA31FD}"/>
                  </a:ext>
                </a:extLst>
              </p:cNvPr>
              <p:cNvSpPr>
                <a:spLocks noChangeArrowheads="1"/>
              </p:cNvSpPr>
              <p:nvPr/>
            </p:nvSpPr>
            <p:spPr bwMode="auto">
              <a:xfrm>
                <a:off x="2257"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0" name="Rectangle 492">
                <a:extLst>
                  <a:ext uri="{FF2B5EF4-FFF2-40B4-BE49-F238E27FC236}">
                    <a16:creationId xmlns:a16="http://schemas.microsoft.com/office/drawing/2014/main" id="{3E99F77E-65ED-491E-A5AF-0A37255E4D43}"/>
                  </a:ext>
                </a:extLst>
              </p:cNvPr>
              <p:cNvSpPr>
                <a:spLocks noChangeArrowheads="1"/>
              </p:cNvSpPr>
              <p:nvPr/>
            </p:nvSpPr>
            <p:spPr bwMode="auto">
              <a:xfrm>
                <a:off x="2285"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1" name="Rectangle 493">
                <a:extLst>
                  <a:ext uri="{FF2B5EF4-FFF2-40B4-BE49-F238E27FC236}">
                    <a16:creationId xmlns:a16="http://schemas.microsoft.com/office/drawing/2014/main" id="{011DE093-92E4-411C-9CE1-F6750A32DB17}"/>
                  </a:ext>
                </a:extLst>
              </p:cNvPr>
              <p:cNvSpPr>
                <a:spLocks noChangeArrowheads="1"/>
              </p:cNvSpPr>
              <p:nvPr/>
            </p:nvSpPr>
            <p:spPr bwMode="auto">
              <a:xfrm>
                <a:off x="2372"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2" name="Rectangle 494">
                <a:extLst>
                  <a:ext uri="{FF2B5EF4-FFF2-40B4-BE49-F238E27FC236}">
                    <a16:creationId xmlns:a16="http://schemas.microsoft.com/office/drawing/2014/main" id="{0887E5EC-41AF-4EB7-9CB0-7821B1E05828}"/>
                  </a:ext>
                </a:extLst>
              </p:cNvPr>
              <p:cNvSpPr>
                <a:spLocks noChangeArrowheads="1"/>
              </p:cNvSpPr>
              <p:nvPr/>
            </p:nvSpPr>
            <p:spPr bwMode="auto">
              <a:xfrm>
                <a:off x="2462" y="145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3" name="Rectangle 495">
                <a:extLst>
                  <a:ext uri="{FF2B5EF4-FFF2-40B4-BE49-F238E27FC236}">
                    <a16:creationId xmlns:a16="http://schemas.microsoft.com/office/drawing/2014/main" id="{3F6117FD-E671-4159-9EC6-E962191CA4FF}"/>
                  </a:ext>
                </a:extLst>
              </p:cNvPr>
              <p:cNvSpPr>
                <a:spLocks noChangeArrowheads="1"/>
              </p:cNvSpPr>
              <p:nvPr/>
            </p:nvSpPr>
            <p:spPr bwMode="auto">
              <a:xfrm>
                <a:off x="2491"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4" name="Rectangle 496">
                <a:extLst>
                  <a:ext uri="{FF2B5EF4-FFF2-40B4-BE49-F238E27FC236}">
                    <a16:creationId xmlns:a16="http://schemas.microsoft.com/office/drawing/2014/main" id="{D1235B33-7DA0-48F9-A249-9B3E29CE997F}"/>
                  </a:ext>
                </a:extLst>
              </p:cNvPr>
              <p:cNvSpPr>
                <a:spLocks noChangeArrowheads="1"/>
              </p:cNvSpPr>
              <p:nvPr/>
            </p:nvSpPr>
            <p:spPr bwMode="auto">
              <a:xfrm>
                <a:off x="251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5" name="Rectangle 497">
                <a:extLst>
                  <a:ext uri="{FF2B5EF4-FFF2-40B4-BE49-F238E27FC236}">
                    <a16:creationId xmlns:a16="http://schemas.microsoft.com/office/drawing/2014/main" id="{3AAA0DED-36CE-44FD-9CDA-ED453A41EAF7}"/>
                  </a:ext>
                </a:extLst>
              </p:cNvPr>
              <p:cNvSpPr>
                <a:spLocks noChangeArrowheads="1"/>
              </p:cNvSpPr>
              <p:nvPr/>
            </p:nvSpPr>
            <p:spPr bwMode="auto">
              <a:xfrm>
                <a:off x="2550"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6" name="Rectangle 498">
                <a:extLst>
                  <a:ext uri="{FF2B5EF4-FFF2-40B4-BE49-F238E27FC236}">
                    <a16:creationId xmlns:a16="http://schemas.microsoft.com/office/drawing/2014/main" id="{B7FAA85D-3421-4F91-89C4-628860A36D14}"/>
                  </a:ext>
                </a:extLst>
              </p:cNvPr>
              <p:cNvSpPr>
                <a:spLocks noChangeArrowheads="1"/>
              </p:cNvSpPr>
              <p:nvPr/>
            </p:nvSpPr>
            <p:spPr bwMode="auto">
              <a:xfrm>
                <a:off x="2637"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7" name="Rectangle 499">
                <a:extLst>
                  <a:ext uri="{FF2B5EF4-FFF2-40B4-BE49-F238E27FC236}">
                    <a16:creationId xmlns:a16="http://schemas.microsoft.com/office/drawing/2014/main" id="{2DAD3FC5-E420-4193-8B2D-49B036870A61}"/>
                  </a:ext>
                </a:extLst>
              </p:cNvPr>
              <p:cNvSpPr>
                <a:spLocks noChangeArrowheads="1"/>
              </p:cNvSpPr>
              <p:nvPr/>
            </p:nvSpPr>
            <p:spPr bwMode="auto">
              <a:xfrm>
                <a:off x="2753"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8" name="Rectangle 500">
                <a:extLst>
                  <a:ext uri="{FF2B5EF4-FFF2-40B4-BE49-F238E27FC236}">
                    <a16:creationId xmlns:a16="http://schemas.microsoft.com/office/drawing/2014/main" id="{D455A75A-2D23-40EA-96F6-2BADAC535152}"/>
                  </a:ext>
                </a:extLst>
              </p:cNvPr>
              <p:cNvSpPr>
                <a:spLocks noChangeArrowheads="1"/>
              </p:cNvSpPr>
              <p:nvPr/>
            </p:nvSpPr>
            <p:spPr bwMode="auto">
              <a:xfrm>
                <a:off x="2843"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9" name="Rectangle 501">
                <a:extLst>
                  <a:ext uri="{FF2B5EF4-FFF2-40B4-BE49-F238E27FC236}">
                    <a16:creationId xmlns:a16="http://schemas.microsoft.com/office/drawing/2014/main" id="{626E9219-EDDB-48FA-A424-AA7D67062044}"/>
                  </a:ext>
                </a:extLst>
              </p:cNvPr>
              <p:cNvSpPr>
                <a:spLocks noChangeArrowheads="1"/>
              </p:cNvSpPr>
              <p:nvPr/>
            </p:nvSpPr>
            <p:spPr bwMode="auto">
              <a:xfrm>
                <a:off x="289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0" name="Rectangle 502">
                <a:extLst>
                  <a:ext uri="{FF2B5EF4-FFF2-40B4-BE49-F238E27FC236}">
                    <a16:creationId xmlns:a16="http://schemas.microsoft.com/office/drawing/2014/main" id="{4EC3CB5F-0ED3-4171-9A78-3D50B0EF0619}"/>
                  </a:ext>
                </a:extLst>
              </p:cNvPr>
              <p:cNvSpPr>
                <a:spLocks noChangeArrowheads="1"/>
              </p:cNvSpPr>
              <p:nvPr/>
            </p:nvSpPr>
            <p:spPr bwMode="auto">
              <a:xfrm>
                <a:off x="2989" y="145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1" name="Rectangle 503">
                <a:extLst>
                  <a:ext uri="{FF2B5EF4-FFF2-40B4-BE49-F238E27FC236}">
                    <a16:creationId xmlns:a16="http://schemas.microsoft.com/office/drawing/2014/main" id="{6CCE6705-1FAF-4DB3-BBD5-1B13F90BBCA4}"/>
                  </a:ext>
                </a:extLst>
              </p:cNvPr>
              <p:cNvSpPr>
                <a:spLocks noChangeArrowheads="1"/>
              </p:cNvSpPr>
              <p:nvPr/>
            </p:nvSpPr>
            <p:spPr bwMode="auto">
              <a:xfrm>
                <a:off x="3018" y="145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2" name="Rectangle 504">
                <a:extLst>
                  <a:ext uri="{FF2B5EF4-FFF2-40B4-BE49-F238E27FC236}">
                    <a16:creationId xmlns:a16="http://schemas.microsoft.com/office/drawing/2014/main" id="{C58587C1-A3CD-4405-AAB3-A862EC0CC7A9}"/>
                  </a:ext>
                </a:extLst>
              </p:cNvPr>
              <p:cNvSpPr>
                <a:spLocks noChangeArrowheads="1"/>
              </p:cNvSpPr>
              <p:nvPr/>
            </p:nvSpPr>
            <p:spPr bwMode="auto">
              <a:xfrm>
                <a:off x="3133"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3" name="Rectangle 505">
                <a:extLst>
                  <a:ext uri="{FF2B5EF4-FFF2-40B4-BE49-F238E27FC236}">
                    <a16:creationId xmlns:a16="http://schemas.microsoft.com/office/drawing/2014/main" id="{6843B5BB-3257-4557-B03A-EAEB4FCB804B}"/>
                  </a:ext>
                </a:extLst>
              </p:cNvPr>
              <p:cNvSpPr>
                <a:spLocks noChangeArrowheads="1"/>
              </p:cNvSpPr>
              <p:nvPr/>
            </p:nvSpPr>
            <p:spPr bwMode="auto">
              <a:xfrm>
                <a:off x="3192"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4" name="Rectangle 506">
                <a:extLst>
                  <a:ext uri="{FF2B5EF4-FFF2-40B4-BE49-F238E27FC236}">
                    <a16:creationId xmlns:a16="http://schemas.microsoft.com/office/drawing/2014/main" id="{6DE4D331-3C1B-4241-B6C3-3510688BFC15}"/>
                  </a:ext>
                </a:extLst>
              </p:cNvPr>
              <p:cNvSpPr>
                <a:spLocks noChangeArrowheads="1"/>
              </p:cNvSpPr>
              <p:nvPr/>
            </p:nvSpPr>
            <p:spPr bwMode="auto">
              <a:xfrm>
                <a:off x="3339" y="145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5" name="Rectangle 507">
                <a:extLst>
                  <a:ext uri="{FF2B5EF4-FFF2-40B4-BE49-F238E27FC236}">
                    <a16:creationId xmlns:a16="http://schemas.microsoft.com/office/drawing/2014/main" id="{590231B3-0772-4458-8659-CDD59AA7901D}"/>
                  </a:ext>
                </a:extLst>
              </p:cNvPr>
              <p:cNvSpPr>
                <a:spLocks noChangeArrowheads="1"/>
              </p:cNvSpPr>
              <p:nvPr/>
            </p:nvSpPr>
            <p:spPr bwMode="auto">
              <a:xfrm>
                <a:off x="2462"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6" name="Rectangle 508">
                <a:extLst>
                  <a:ext uri="{FF2B5EF4-FFF2-40B4-BE49-F238E27FC236}">
                    <a16:creationId xmlns:a16="http://schemas.microsoft.com/office/drawing/2014/main" id="{5609BA04-F536-4D93-B1CD-74384FC44353}"/>
                  </a:ext>
                </a:extLst>
              </p:cNvPr>
              <p:cNvSpPr>
                <a:spLocks noChangeArrowheads="1"/>
              </p:cNvSpPr>
              <p:nvPr/>
            </p:nvSpPr>
            <p:spPr bwMode="auto">
              <a:xfrm>
                <a:off x="2519"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7" name="Rectangle 509">
                <a:extLst>
                  <a:ext uri="{FF2B5EF4-FFF2-40B4-BE49-F238E27FC236}">
                    <a16:creationId xmlns:a16="http://schemas.microsoft.com/office/drawing/2014/main" id="{CE19D15D-4405-491C-8CAE-337FA5A2095B}"/>
                  </a:ext>
                </a:extLst>
              </p:cNvPr>
              <p:cNvSpPr>
                <a:spLocks noChangeArrowheads="1"/>
              </p:cNvSpPr>
              <p:nvPr/>
            </p:nvSpPr>
            <p:spPr bwMode="auto">
              <a:xfrm>
                <a:off x="2637"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8" name="Rectangle 510">
                <a:extLst>
                  <a:ext uri="{FF2B5EF4-FFF2-40B4-BE49-F238E27FC236}">
                    <a16:creationId xmlns:a16="http://schemas.microsoft.com/office/drawing/2014/main" id="{D5D01351-6CE5-46A2-86C6-7A7440690972}"/>
                  </a:ext>
                </a:extLst>
              </p:cNvPr>
              <p:cNvSpPr>
                <a:spLocks noChangeArrowheads="1"/>
              </p:cNvSpPr>
              <p:nvPr/>
            </p:nvSpPr>
            <p:spPr bwMode="auto">
              <a:xfrm>
                <a:off x="2665"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39" name="Rectangle 511">
                <a:extLst>
                  <a:ext uri="{FF2B5EF4-FFF2-40B4-BE49-F238E27FC236}">
                    <a16:creationId xmlns:a16="http://schemas.microsoft.com/office/drawing/2014/main" id="{B5B7DB03-8F19-40F1-974B-3938BB88E085}"/>
                  </a:ext>
                </a:extLst>
              </p:cNvPr>
              <p:cNvSpPr>
                <a:spLocks noChangeArrowheads="1"/>
              </p:cNvSpPr>
              <p:nvPr/>
            </p:nvSpPr>
            <p:spPr bwMode="auto">
              <a:xfrm>
                <a:off x="2725"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0" name="Rectangle 512">
                <a:extLst>
                  <a:ext uri="{FF2B5EF4-FFF2-40B4-BE49-F238E27FC236}">
                    <a16:creationId xmlns:a16="http://schemas.microsoft.com/office/drawing/2014/main" id="{2D78F51F-A3BE-41E3-89F4-18B0D42198F2}"/>
                  </a:ext>
                </a:extLst>
              </p:cNvPr>
              <p:cNvSpPr>
                <a:spLocks noChangeArrowheads="1"/>
              </p:cNvSpPr>
              <p:nvPr/>
            </p:nvSpPr>
            <p:spPr bwMode="auto">
              <a:xfrm>
                <a:off x="2784"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1" name="Rectangle 513">
                <a:extLst>
                  <a:ext uri="{FF2B5EF4-FFF2-40B4-BE49-F238E27FC236}">
                    <a16:creationId xmlns:a16="http://schemas.microsoft.com/office/drawing/2014/main" id="{DCB13B99-C969-402F-8CF9-8ED8FC49AD1B}"/>
                  </a:ext>
                </a:extLst>
              </p:cNvPr>
              <p:cNvSpPr>
                <a:spLocks noChangeArrowheads="1"/>
              </p:cNvSpPr>
              <p:nvPr/>
            </p:nvSpPr>
            <p:spPr bwMode="auto">
              <a:xfrm>
                <a:off x="2812"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2" name="Rectangle 514">
                <a:extLst>
                  <a:ext uri="{FF2B5EF4-FFF2-40B4-BE49-F238E27FC236}">
                    <a16:creationId xmlns:a16="http://schemas.microsoft.com/office/drawing/2014/main" id="{34D34C69-5436-41BB-AC6E-B5F65F54A54C}"/>
                  </a:ext>
                </a:extLst>
              </p:cNvPr>
              <p:cNvSpPr>
                <a:spLocks noChangeArrowheads="1"/>
              </p:cNvSpPr>
              <p:nvPr/>
            </p:nvSpPr>
            <p:spPr bwMode="auto">
              <a:xfrm>
                <a:off x="2843"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3" name="Rectangle 515">
                <a:extLst>
                  <a:ext uri="{FF2B5EF4-FFF2-40B4-BE49-F238E27FC236}">
                    <a16:creationId xmlns:a16="http://schemas.microsoft.com/office/drawing/2014/main" id="{AA453D17-4EDE-4282-A934-F188516B2ABC}"/>
                  </a:ext>
                </a:extLst>
              </p:cNvPr>
              <p:cNvSpPr>
                <a:spLocks noChangeArrowheads="1"/>
              </p:cNvSpPr>
              <p:nvPr/>
            </p:nvSpPr>
            <p:spPr bwMode="auto">
              <a:xfrm>
                <a:off x="2989"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4" name="Rectangle 516">
                <a:extLst>
                  <a:ext uri="{FF2B5EF4-FFF2-40B4-BE49-F238E27FC236}">
                    <a16:creationId xmlns:a16="http://schemas.microsoft.com/office/drawing/2014/main" id="{458E7FCF-3D5A-4018-A31C-A09C9F1EEE82}"/>
                  </a:ext>
                </a:extLst>
              </p:cNvPr>
              <p:cNvSpPr>
                <a:spLocks noChangeArrowheads="1"/>
              </p:cNvSpPr>
              <p:nvPr/>
            </p:nvSpPr>
            <p:spPr bwMode="auto">
              <a:xfrm>
                <a:off x="3046"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5" name="Rectangle 517">
                <a:extLst>
                  <a:ext uri="{FF2B5EF4-FFF2-40B4-BE49-F238E27FC236}">
                    <a16:creationId xmlns:a16="http://schemas.microsoft.com/office/drawing/2014/main" id="{8E281ABF-DA56-494A-B5A3-1953C7A53C1E}"/>
                  </a:ext>
                </a:extLst>
              </p:cNvPr>
              <p:cNvSpPr>
                <a:spLocks noChangeArrowheads="1"/>
              </p:cNvSpPr>
              <p:nvPr/>
            </p:nvSpPr>
            <p:spPr bwMode="auto">
              <a:xfrm>
                <a:off x="3105"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6" name="Rectangle 518">
                <a:extLst>
                  <a:ext uri="{FF2B5EF4-FFF2-40B4-BE49-F238E27FC236}">
                    <a16:creationId xmlns:a16="http://schemas.microsoft.com/office/drawing/2014/main" id="{34240F11-164A-4347-B6AD-E0EB804A25EA}"/>
                  </a:ext>
                </a:extLst>
              </p:cNvPr>
              <p:cNvSpPr>
                <a:spLocks noChangeArrowheads="1"/>
              </p:cNvSpPr>
              <p:nvPr/>
            </p:nvSpPr>
            <p:spPr bwMode="auto">
              <a:xfrm>
                <a:off x="3133"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7" name="Rectangle 519">
                <a:extLst>
                  <a:ext uri="{FF2B5EF4-FFF2-40B4-BE49-F238E27FC236}">
                    <a16:creationId xmlns:a16="http://schemas.microsoft.com/office/drawing/2014/main" id="{7D38718B-4881-49D3-A96B-D7CB836D661F}"/>
                  </a:ext>
                </a:extLst>
              </p:cNvPr>
              <p:cNvSpPr>
                <a:spLocks noChangeArrowheads="1"/>
              </p:cNvSpPr>
              <p:nvPr/>
            </p:nvSpPr>
            <p:spPr bwMode="auto">
              <a:xfrm>
                <a:off x="3192" y="1489"/>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8" name="Rectangle 520">
                <a:extLst>
                  <a:ext uri="{FF2B5EF4-FFF2-40B4-BE49-F238E27FC236}">
                    <a16:creationId xmlns:a16="http://schemas.microsoft.com/office/drawing/2014/main" id="{3657FC41-D0D7-41E8-93C6-C7AD5C3B5008}"/>
                  </a:ext>
                </a:extLst>
              </p:cNvPr>
              <p:cNvSpPr>
                <a:spLocks noChangeArrowheads="1"/>
              </p:cNvSpPr>
              <p:nvPr/>
            </p:nvSpPr>
            <p:spPr bwMode="auto">
              <a:xfrm>
                <a:off x="3223"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49" name="Rectangle 521">
                <a:extLst>
                  <a:ext uri="{FF2B5EF4-FFF2-40B4-BE49-F238E27FC236}">
                    <a16:creationId xmlns:a16="http://schemas.microsoft.com/office/drawing/2014/main" id="{F03D4146-70E0-412D-BDE0-5FD80821C03A}"/>
                  </a:ext>
                </a:extLst>
              </p:cNvPr>
              <p:cNvSpPr>
                <a:spLocks noChangeArrowheads="1"/>
              </p:cNvSpPr>
              <p:nvPr/>
            </p:nvSpPr>
            <p:spPr bwMode="auto">
              <a:xfrm>
                <a:off x="3251" y="1489"/>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0" name="Rectangle 522">
                <a:extLst>
                  <a:ext uri="{FF2B5EF4-FFF2-40B4-BE49-F238E27FC236}">
                    <a16:creationId xmlns:a16="http://schemas.microsoft.com/office/drawing/2014/main" id="{1FF7CEE7-040B-4FB5-8AE2-A6E59E4C0086}"/>
                  </a:ext>
                </a:extLst>
              </p:cNvPr>
              <p:cNvSpPr>
                <a:spLocks noChangeArrowheads="1"/>
              </p:cNvSpPr>
              <p:nvPr/>
            </p:nvSpPr>
            <p:spPr bwMode="auto">
              <a:xfrm>
                <a:off x="3370" y="1489"/>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1" name="Rectangle 523">
                <a:extLst>
                  <a:ext uri="{FF2B5EF4-FFF2-40B4-BE49-F238E27FC236}">
                    <a16:creationId xmlns:a16="http://schemas.microsoft.com/office/drawing/2014/main" id="{61FD7816-B97E-4593-8E62-E9259A438AEB}"/>
                  </a:ext>
                </a:extLst>
              </p:cNvPr>
              <p:cNvSpPr>
                <a:spLocks noChangeArrowheads="1"/>
              </p:cNvSpPr>
              <p:nvPr/>
            </p:nvSpPr>
            <p:spPr bwMode="auto">
              <a:xfrm>
                <a:off x="2198"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2" name="Rectangle 524">
                <a:extLst>
                  <a:ext uri="{FF2B5EF4-FFF2-40B4-BE49-F238E27FC236}">
                    <a16:creationId xmlns:a16="http://schemas.microsoft.com/office/drawing/2014/main" id="{1AE64C45-4A4B-4F0C-A8D7-E92ACEA65B61}"/>
                  </a:ext>
                </a:extLst>
              </p:cNvPr>
              <p:cNvSpPr>
                <a:spLocks noChangeArrowheads="1"/>
              </p:cNvSpPr>
              <p:nvPr/>
            </p:nvSpPr>
            <p:spPr bwMode="auto">
              <a:xfrm>
                <a:off x="2285"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3" name="Rectangle 525">
                <a:extLst>
                  <a:ext uri="{FF2B5EF4-FFF2-40B4-BE49-F238E27FC236}">
                    <a16:creationId xmlns:a16="http://schemas.microsoft.com/office/drawing/2014/main" id="{EF42A88F-8D0A-45C2-B855-427D07B38E66}"/>
                  </a:ext>
                </a:extLst>
              </p:cNvPr>
              <p:cNvSpPr>
                <a:spLocks noChangeArrowheads="1"/>
              </p:cNvSpPr>
              <p:nvPr/>
            </p:nvSpPr>
            <p:spPr bwMode="auto">
              <a:xfrm>
                <a:off x="2372"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4" name="Rectangle 526">
                <a:extLst>
                  <a:ext uri="{FF2B5EF4-FFF2-40B4-BE49-F238E27FC236}">
                    <a16:creationId xmlns:a16="http://schemas.microsoft.com/office/drawing/2014/main" id="{7B54002F-9265-4FF9-8C07-AAA24A34AB92}"/>
                  </a:ext>
                </a:extLst>
              </p:cNvPr>
              <p:cNvSpPr>
                <a:spLocks noChangeArrowheads="1"/>
              </p:cNvSpPr>
              <p:nvPr/>
            </p:nvSpPr>
            <p:spPr bwMode="auto">
              <a:xfrm>
                <a:off x="2431"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5" name="Rectangle 527">
                <a:extLst>
                  <a:ext uri="{FF2B5EF4-FFF2-40B4-BE49-F238E27FC236}">
                    <a16:creationId xmlns:a16="http://schemas.microsoft.com/office/drawing/2014/main" id="{9CF7F8B6-DF72-45D6-A7F6-9FFB1C99A19A}"/>
                  </a:ext>
                </a:extLst>
              </p:cNvPr>
              <p:cNvSpPr>
                <a:spLocks noChangeArrowheads="1"/>
              </p:cNvSpPr>
              <p:nvPr/>
            </p:nvSpPr>
            <p:spPr bwMode="auto">
              <a:xfrm>
                <a:off x="2462" y="1517"/>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6" name="Rectangle 528">
                <a:extLst>
                  <a:ext uri="{FF2B5EF4-FFF2-40B4-BE49-F238E27FC236}">
                    <a16:creationId xmlns:a16="http://schemas.microsoft.com/office/drawing/2014/main" id="{208169A4-F221-4DDF-BB37-55C2A15F877E}"/>
                  </a:ext>
                </a:extLst>
              </p:cNvPr>
              <p:cNvSpPr>
                <a:spLocks noChangeArrowheads="1"/>
              </p:cNvSpPr>
              <p:nvPr/>
            </p:nvSpPr>
            <p:spPr bwMode="auto">
              <a:xfrm>
                <a:off x="2637"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7" name="Rectangle 529">
                <a:extLst>
                  <a:ext uri="{FF2B5EF4-FFF2-40B4-BE49-F238E27FC236}">
                    <a16:creationId xmlns:a16="http://schemas.microsoft.com/office/drawing/2014/main" id="{C19FD728-F43B-4018-928F-7DC15A3B2530}"/>
                  </a:ext>
                </a:extLst>
              </p:cNvPr>
              <p:cNvSpPr>
                <a:spLocks noChangeArrowheads="1"/>
              </p:cNvSpPr>
              <p:nvPr/>
            </p:nvSpPr>
            <p:spPr bwMode="auto">
              <a:xfrm>
                <a:off x="2725"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8" name="Rectangle 530">
                <a:extLst>
                  <a:ext uri="{FF2B5EF4-FFF2-40B4-BE49-F238E27FC236}">
                    <a16:creationId xmlns:a16="http://schemas.microsoft.com/office/drawing/2014/main" id="{628312B9-0593-4030-A2CE-E506DFE264EB}"/>
                  </a:ext>
                </a:extLst>
              </p:cNvPr>
              <p:cNvSpPr>
                <a:spLocks noChangeArrowheads="1"/>
              </p:cNvSpPr>
              <p:nvPr/>
            </p:nvSpPr>
            <p:spPr bwMode="auto">
              <a:xfrm>
                <a:off x="2784"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9" name="Rectangle 531">
                <a:extLst>
                  <a:ext uri="{FF2B5EF4-FFF2-40B4-BE49-F238E27FC236}">
                    <a16:creationId xmlns:a16="http://schemas.microsoft.com/office/drawing/2014/main" id="{A60ECB0E-6AF2-449F-ADF4-F6BF37FC54BC}"/>
                  </a:ext>
                </a:extLst>
              </p:cNvPr>
              <p:cNvSpPr>
                <a:spLocks noChangeArrowheads="1"/>
              </p:cNvSpPr>
              <p:nvPr/>
            </p:nvSpPr>
            <p:spPr bwMode="auto">
              <a:xfrm>
                <a:off x="2843"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0" name="Rectangle 532">
                <a:extLst>
                  <a:ext uri="{FF2B5EF4-FFF2-40B4-BE49-F238E27FC236}">
                    <a16:creationId xmlns:a16="http://schemas.microsoft.com/office/drawing/2014/main" id="{A9929F69-D0A5-46BE-877B-5807B24E4504}"/>
                  </a:ext>
                </a:extLst>
              </p:cNvPr>
              <p:cNvSpPr>
                <a:spLocks noChangeArrowheads="1"/>
              </p:cNvSpPr>
              <p:nvPr/>
            </p:nvSpPr>
            <p:spPr bwMode="auto">
              <a:xfrm>
                <a:off x="2930"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1" name="Rectangle 533">
                <a:extLst>
                  <a:ext uri="{FF2B5EF4-FFF2-40B4-BE49-F238E27FC236}">
                    <a16:creationId xmlns:a16="http://schemas.microsoft.com/office/drawing/2014/main" id="{6E109A82-6DC6-446F-9E62-05B94CA8CF7B}"/>
                  </a:ext>
                </a:extLst>
              </p:cNvPr>
              <p:cNvSpPr>
                <a:spLocks noChangeArrowheads="1"/>
              </p:cNvSpPr>
              <p:nvPr/>
            </p:nvSpPr>
            <p:spPr bwMode="auto">
              <a:xfrm>
                <a:off x="2958"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2" name="Rectangle 534">
                <a:extLst>
                  <a:ext uri="{FF2B5EF4-FFF2-40B4-BE49-F238E27FC236}">
                    <a16:creationId xmlns:a16="http://schemas.microsoft.com/office/drawing/2014/main" id="{8374239D-811B-4F94-BCA5-F6CCFB0DB5F4}"/>
                  </a:ext>
                </a:extLst>
              </p:cNvPr>
              <p:cNvSpPr>
                <a:spLocks noChangeArrowheads="1"/>
              </p:cNvSpPr>
              <p:nvPr/>
            </p:nvSpPr>
            <p:spPr bwMode="auto">
              <a:xfrm>
                <a:off x="2989" y="1517"/>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3" name="Rectangle 535">
                <a:extLst>
                  <a:ext uri="{FF2B5EF4-FFF2-40B4-BE49-F238E27FC236}">
                    <a16:creationId xmlns:a16="http://schemas.microsoft.com/office/drawing/2014/main" id="{65252482-B289-442D-B874-A3424B29274C}"/>
                  </a:ext>
                </a:extLst>
              </p:cNvPr>
              <p:cNvSpPr>
                <a:spLocks noChangeArrowheads="1"/>
              </p:cNvSpPr>
              <p:nvPr/>
            </p:nvSpPr>
            <p:spPr bwMode="auto">
              <a:xfrm>
                <a:off x="3018"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4" name="Rectangle 536">
                <a:extLst>
                  <a:ext uri="{FF2B5EF4-FFF2-40B4-BE49-F238E27FC236}">
                    <a16:creationId xmlns:a16="http://schemas.microsoft.com/office/drawing/2014/main" id="{D6F4D5AA-0EB0-437A-A931-44F27CBD4FE4}"/>
                  </a:ext>
                </a:extLst>
              </p:cNvPr>
              <p:cNvSpPr>
                <a:spLocks noChangeArrowheads="1"/>
              </p:cNvSpPr>
              <p:nvPr/>
            </p:nvSpPr>
            <p:spPr bwMode="auto">
              <a:xfrm>
                <a:off x="3192"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5" name="Rectangle 537">
                <a:extLst>
                  <a:ext uri="{FF2B5EF4-FFF2-40B4-BE49-F238E27FC236}">
                    <a16:creationId xmlns:a16="http://schemas.microsoft.com/office/drawing/2014/main" id="{9AFBC264-2667-437E-A79B-B00ED7AE67BC}"/>
                  </a:ext>
                </a:extLst>
              </p:cNvPr>
              <p:cNvSpPr>
                <a:spLocks noChangeArrowheads="1"/>
              </p:cNvSpPr>
              <p:nvPr/>
            </p:nvSpPr>
            <p:spPr bwMode="auto">
              <a:xfrm>
                <a:off x="3223"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6" name="Rectangle 538">
                <a:extLst>
                  <a:ext uri="{FF2B5EF4-FFF2-40B4-BE49-F238E27FC236}">
                    <a16:creationId xmlns:a16="http://schemas.microsoft.com/office/drawing/2014/main" id="{07F7C30B-E5F7-4BF6-83CB-05AD9FED2FB4}"/>
                  </a:ext>
                </a:extLst>
              </p:cNvPr>
              <p:cNvSpPr>
                <a:spLocks noChangeArrowheads="1"/>
              </p:cNvSpPr>
              <p:nvPr/>
            </p:nvSpPr>
            <p:spPr bwMode="auto">
              <a:xfrm>
                <a:off x="3280" y="1517"/>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7" name="Rectangle 539">
                <a:extLst>
                  <a:ext uri="{FF2B5EF4-FFF2-40B4-BE49-F238E27FC236}">
                    <a16:creationId xmlns:a16="http://schemas.microsoft.com/office/drawing/2014/main" id="{68A3872C-1CFA-49AC-A5C9-C692D48F2283}"/>
                  </a:ext>
                </a:extLst>
              </p:cNvPr>
              <p:cNvSpPr>
                <a:spLocks noChangeArrowheads="1"/>
              </p:cNvSpPr>
              <p:nvPr/>
            </p:nvSpPr>
            <p:spPr bwMode="auto">
              <a:xfrm>
                <a:off x="3311" y="1517"/>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8" name="Rectangle 540">
                <a:extLst>
                  <a:ext uri="{FF2B5EF4-FFF2-40B4-BE49-F238E27FC236}">
                    <a16:creationId xmlns:a16="http://schemas.microsoft.com/office/drawing/2014/main" id="{D693290B-C109-4532-9CBC-79BD88939299}"/>
                  </a:ext>
                </a:extLst>
              </p:cNvPr>
              <p:cNvSpPr>
                <a:spLocks noChangeArrowheads="1"/>
              </p:cNvSpPr>
              <p:nvPr/>
            </p:nvSpPr>
            <p:spPr bwMode="auto">
              <a:xfrm>
                <a:off x="2226"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9" name="Rectangle 541">
                <a:extLst>
                  <a:ext uri="{FF2B5EF4-FFF2-40B4-BE49-F238E27FC236}">
                    <a16:creationId xmlns:a16="http://schemas.microsoft.com/office/drawing/2014/main" id="{4F8CCF70-E464-4C78-B08A-2143957B5743}"/>
                  </a:ext>
                </a:extLst>
              </p:cNvPr>
              <p:cNvSpPr>
                <a:spLocks noChangeArrowheads="1"/>
              </p:cNvSpPr>
              <p:nvPr/>
            </p:nvSpPr>
            <p:spPr bwMode="auto">
              <a:xfrm>
                <a:off x="2285"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0" name="Rectangle 542">
                <a:extLst>
                  <a:ext uri="{FF2B5EF4-FFF2-40B4-BE49-F238E27FC236}">
                    <a16:creationId xmlns:a16="http://schemas.microsoft.com/office/drawing/2014/main" id="{6F10DC8F-1C40-47A1-8605-E4A50327F184}"/>
                  </a:ext>
                </a:extLst>
              </p:cNvPr>
              <p:cNvSpPr>
                <a:spLocks noChangeArrowheads="1"/>
              </p:cNvSpPr>
              <p:nvPr/>
            </p:nvSpPr>
            <p:spPr bwMode="auto">
              <a:xfrm>
                <a:off x="2316"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1" name="Rectangle 543">
                <a:extLst>
                  <a:ext uri="{FF2B5EF4-FFF2-40B4-BE49-F238E27FC236}">
                    <a16:creationId xmlns:a16="http://schemas.microsoft.com/office/drawing/2014/main" id="{890DCD74-9FF5-4CC0-B925-0D12859CF1D1}"/>
                  </a:ext>
                </a:extLst>
              </p:cNvPr>
              <p:cNvSpPr>
                <a:spLocks noChangeArrowheads="1"/>
              </p:cNvSpPr>
              <p:nvPr/>
            </p:nvSpPr>
            <p:spPr bwMode="auto">
              <a:xfrm>
                <a:off x="2344"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2" name="Rectangle 544">
                <a:extLst>
                  <a:ext uri="{FF2B5EF4-FFF2-40B4-BE49-F238E27FC236}">
                    <a16:creationId xmlns:a16="http://schemas.microsoft.com/office/drawing/2014/main" id="{25AF71FB-06FF-4582-8DAB-BBA4F8770CDB}"/>
                  </a:ext>
                </a:extLst>
              </p:cNvPr>
              <p:cNvSpPr>
                <a:spLocks noChangeArrowheads="1"/>
              </p:cNvSpPr>
              <p:nvPr/>
            </p:nvSpPr>
            <p:spPr bwMode="auto">
              <a:xfrm>
                <a:off x="2462" y="1548"/>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3" name="Rectangle 545">
                <a:extLst>
                  <a:ext uri="{FF2B5EF4-FFF2-40B4-BE49-F238E27FC236}">
                    <a16:creationId xmlns:a16="http://schemas.microsoft.com/office/drawing/2014/main" id="{2AB3E100-EBB4-4969-B351-AD571E2ED78F}"/>
                  </a:ext>
                </a:extLst>
              </p:cNvPr>
              <p:cNvSpPr>
                <a:spLocks noChangeArrowheads="1"/>
              </p:cNvSpPr>
              <p:nvPr/>
            </p:nvSpPr>
            <p:spPr bwMode="auto">
              <a:xfrm>
                <a:off x="2843"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4" name="Rectangle 546">
                <a:extLst>
                  <a:ext uri="{FF2B5EF4-FFF2-40B4-BE49-F238E27FC236}">
                    <a16:creationId xmlns:a16="http://schemas.microsoft.com/office/drawing/2014/main" id="{2DA42C80-15FE-4179-9580-8C3F0CFD9B11}"/>
                  </a:ext>
                </a:extLst>
              </p:cNvPr>
              <p:cNvSpPr>
                <a:spLocks noChangeArrowheads="1"/>
              </p:cNvSpPr>
              <p:nvPr/>
            </p:nvSpPr>
            <p:spPr bwMode="auto">
              <a:xfrm>
                <a:off x="2871"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5" name="Rectangle 547">
                <a:extLst>
                  <a:ext uri="{FF2B5EF4-FFF2-40B4-BE49-F238E27FC236}">
                    <a16:creationId xmlns:a16="http://schemas.microsoft.com/office/drawing/2014/main" id="{3FE36366-76BF-48F0-AD6A-5480FF555354}"/>
                  </a:ext>
                </a:extLst>
              </p:cNvPr>
              <p:cNvSpPr>
                <a:spLocks noChangeArrowheads="1"/>
              </p:cNvSpPr>
              <p:nvPr/>
            </p:nvSpPr>
            <p:spPr bwMode="auto">
              <a:xfrm>
                <a:off x="2958"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6" name="Rectangle 548">
                <a:extLst>
                  <a:ext uri="{FF2B5EF4-FFF2-40B4-BE49-F238E27FC236}">
                    <a16:creationId xmlns:a16="http://schemas.microsoft.com/office/drawing/2014/main" id="{012A901F-CCAF-44A8-9AA2-F6D08BA76456}"/>
                  </a:ext>
                </a:extLst>
              </p:cNvPr>
              <p:cNvSpPr>
                <a:spLocks noChangeArrowheads="1"/>
              </p:cNvSpPr>
              <p:nvPr/>
            </p:nvSpPr>
            <p:spPr bwMode="auto">
              <a:xfrm>
                <a:off x="3018"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7" name="Rectangle 549">
                <a:extLst>
                  <a:ext uri="{FF2B5EF4-FFF2-40B4-BE49-F238E27FC236}">
                    <a16:creationId xmlns:a16="http://schemas.microsoft.com/office/drawing/2014/main" id="{C2499AC6-4DD5-418C-8575-9DA8E1ADB922}"/>
                  </a:ext>
                </a:extLst>
              </p:cNvPr>
              <p:cNvSpPr>
                <a:spLocks noChangeArrowheads="1"/>
              </p:cNvSpPr>
              <p:nvPr/>
            </p:nvSpPr>
            <p:spPr bwMode="auto">
              <a:xfrm>
                <a:off x="3105"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8" name="Rectangle 550">
                <a:extLst>
                  <a:ext uri="{FF2B5EF4-FFF2-40B4-BE49-F238E27FC236}">
                    <a16:creationId xmlns:a16="http://schemas.microsoft.com/office/drawing/2014/main" id="{F000CC38-EA5D-4059-8BEC-E412C9B2742B}"/>
                  </a:ext>
                </a:extLst>
              </p:cNvPr>
              <p:cNvSpPr>
                <a:spLocks noChangeArrowheads="1"/>
              </p:cNvSpPr>
              <p:nvPr/>
            </p:nvSpPr>
            <p:spPr bwMode="auto">
              <a:xfrm>
                <a:off x="3164"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79" name="Rectangle 551">
                <a:extLst>
                  <a:ext uri="{FF2B5EF4-FFF2-40B4-BE49-F238E27FC236}">
                    <a16:creationId xmlns:a16="http://schemas.microsoft.com/office/drawing/2014/main" id="{C61618A3-9C7E-4C91-9508-93F5359DCC1A}"/>
                  </a:ext>
                </a:extLst>
              </p:cNvPr>
              <p:cNvSpPr>
                <a:spLocks noChangeArrowheads="1"/>
              </p:cNvSpPr>
              <p:nvPr/>
            </p:nvSpPr>
            <p:spPr bwMode="auto">
              <a:xfrm>
                <a:off x="3223"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0" name="Rectangle 552">
                <a:extLst>
                  <a:ext uri="{FF2B5EF4-FFF2-40B4-BE49-F238E27FC236}">
                    <a16:creationId xmlns:a16="http://schemas.microsoft.com/office/drawing/2014/main" id="{F978AE7E-48F3-470B-BB7C-0ADDE4380B4A}"/>
                  </a:ext>
                </a:extLst>
              </p:cNvPr>
              <p:cNvSpPr>
                <a:spLocks noChangeArrowheads="1"/>
              </p:cNvSpPr>
              <p:nvPr/>
            </p:nvSpPr>
            <p:spPr bwMode="auto">
              <a:xfrm>
                <a:off x="3311"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1" name="Rectangle 553">
                <a:extLst>
                  <a:ext uri="{FF2B5EF4-FFF2-40B4-BE49-F238E27FC236}">
                    <a16:creationId xmlns:a16="http://schemas.microsoft.com/office/drawing/2014/main" id="{FE97C365-B5F9-4D59-9325-C123D6BDCFC4}"/>
                  </a:ext>
                </a:extLst>
              </p:cNvPr>
              <p:cNvSpPr>
                <a:spLocks noChangeArrowheads="1"/>
              </p:cNvSpPr>
              <p:nvPr/>
            </p:nvSpPr>
            <p:spPr bwMode="auto">
              <a:xfrm>
                <a:off x="3339" y="1548"/>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2" name="Rectangle 554">
                <a:extLst>
                  <a:ext uri="{FF2B5EF4-FFF2-40B4-BE49-F238E27FC236}">
                    <a16:creationId xmlns:a16="http://schemas.microsoft.com/office/drawing/2014/main" id="{2A1AD3FE-7E63-46E8-9128-8AD4861934D4}"/>
                  </a:ext>
                </a:extLst>
              </p:cNvPr>
              <p:cNvSpPr>
                <a:spLocks noChangeArrowheads="1"/>
              </p:cNvSpPr>
              <p:nvPr/>
            </p:nvSpPr>
            <p:spPr bwMode="auto">
              <a:xfrm>
                <a:off x="3370" y="1548"/>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3" name="Rectangle 555">
                <a:extLst>
                  <a:ext uri="{FF2B5EF4-FFF2-40B4-BE49-F238E27FC236}">
                    <a16:creationId xmlns:a16="http://schemas.microsoft.com/office/drawing/2014/main" id="{03BFBC53-EA5C-4B8C-9ABF-74E7225B518E}"/>
                  </a:ext>
                </a:extLst>
              </p:cNvPr>
              <p:cNvSpPr>
                <a:spLocks noChangeArrowheads="1"/>
              </p:cNvSpPr>
              <p:nvPr/>
            </p:nvSpPr>
            <p:spPr bwMode="auto">
              <a:xfrm>
                <a:off x="2226"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4" name="Rectangle 556">
                <a:extLst>
                  <a:ext uri="{FF2B5EF4-FFF2-40B4-BE49-F238E27FC236}">
                    <a16:creationId xmlns:a16="http://schemas.microsoft.com/office/drawing/2014/main" id="{CF6DCCB7-163C-471B-8F69-41E534199FA1}"/>
                  </a:ext>
                </a:extLst>
              </p:cNvPr>
              <p:cNvSpPr>
                <a:spLocks noChangeArrowheads="1"/>
              </p:cNvSpPr>
              <p:nvPr/>
            </p:nvSpPr>
            <p:spPr bwMode="auto">
              <a:xfrm>
                <a:off x="2257"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5" name="Rectangle 557">
                <a:extLst>
                  <a:ext uri="{FF2B5EF4-FFF2-40B4-BE49-F238E27FC236}">
                    <a16:creationId xmlns:a16="http://schemas.microsoft.com/office/drawing/2014/main" id="{A04F6FAB-9523-4F16-8F36-B44177E7E7C7}"/>
                  </a:ext>
                </a:extLst>
              </p:cNvPr>
              <p:cNvSpPr>
                <a:spLocks noChangeArrowheads="1"/>
              </p:cNvSpPr>
              <p:nvPr/>
            </p:nvSpPr>
            <p:spPr bwMode="auto">
              <a:xfrm>
                <a:off x="2316"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6" name="Rectangle 558">
                <a:extLst>
                  <a:ext uri="{FF2B5EF4-FFF2-40B4-BE49-F238E27FC236}">
                    <a16:creationId xmlns:a16="http://schemas.microsoft.com/office/drawing/2014/main" id="{B62E1011-BB12-4BDD-92CF-D4DD441DFF39}"/>
                  </a:ext>
                </a:extLst>
              </p:cNvPr>
              <p:cNvSpPr>
                <a:spLocks noChangeArrowheads="1"/>
              </p:cNvSpPr>
              <p:nvPr/>
            </p:nvSpPr>
            <p:spPr bwMode="auto">
              <a:xfrm>
                <a:off x="2372"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7" name="Rectangle 559">
                <a:extLst>
                  <a:ext uri="{FF2B5EF4-FFF2-40B4-BE49-F238E27FC236}">
                    <a16:creationId xmlns:a16="http://schemas.microsoft.com/office/drawing/2014/main" id="{F331FE31-40A6-45D5-AC42-70E651264215}"/>
                  </a:ext>
                </a:extLst>
              </p:cNvPr>
              <p:cNvSpPr>
                <a:spLocks noChangeArrowheads="1"/>
              </p:cNvSpPr>
              <p:nvPr/>
            </p:nvSpPr>
            <p:spPr bwMode="auto">
              <a:xfrm>
                <a:off x="2491"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8" name="Rectangle 560">
                <a:extLst>
                  <a:ext uri="{FF2B5EF4-FFF2-40B4-BE49-F238E27FC236}">
                    <a16:creationId xmlns:a16="http://schemas.microsoft.com/office/drawing/2014/main" id="{2F0E6717-5EAB-43C1-9E0C-570B17E20D64}"/>
                  </a:ext>
                </a:extLst>
              </p:cNvPr>
              <p:cNvSpPr>
                <a:spLocks noChangeArrowheads="1"/>
              </p:cNvSpPr>
              <p:nvPr/>
            </p:nvSpPr>
            <p:spPr bwMode="auto">
              <a:xfrm>
                <a:off x="2550"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9" name="Rectangle 561">
                <a:extLst>
                  <a:ext uri="{FF2B5EF4-FFF2-40B4-BE49-F238E27FC236}">
                    <a16:creationId xmlns:a16="http://schemas.microsoft.com/office/drawing/2014/main" id="{36138B0C-37B8-4738-8C12-FCAD49348C7D}"/>
                  </a:ext>
                </a:extLst>
              </p:cNvPr>
              <p:cNvSpPr>
                <a:spLocks noChangeArrowheads="1"/>
              </p:cNvSpPr>
              <p:nvPr/>
            </p:nvSpPr>
            <p:spPr bwMode="auto">
              <a:xfrm>
                <a:off x="2725"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0" name="Rectangle 562">
                <a:extLst>
                  <a:ext uri="{FF2B5EF4-FFF2-40B4-BE49-F238E27FC236}">
                    <a16:creationId xmlns:a16="http://schemas.microsoft.com/office/drawing/2014/main" id="{1ECE3ED7-97E6-4848-8EA6-B7F5D1C7CD29}"/>
                  </a:ext>
                </a:extLst>
              </p:cNvPr>
              <p:cNvSpPr>
                <a:spLocks noChangeArrowheads="1"/>
              </p:cNvSpPr>
              <p:nvPr/>
            </p:nvSpPr>
            <p:spPr bwMode="auto">
              <a:xfrm>
                <a:off x="2753"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1" name="Rectangle 563">
                <a:extLst>
                  <a:ext uri="{FF2B5EF4-FFF2-40B4-BE49-F238E27FC236}">
                    <a16:creationId xmlns:a16="http://schemas.microsoft.com/office/drawing/2014/main" id="{46EF7508-FA2C-4FC7-8DA0-8D4A69B10BD7}"/>
                  </a:ext>
                </a:extLst>
              </p:cNvPr>
              <p:cNvSpPr>
                <a:spLocks noChangeArrowheads="1"/>
              </p:cNvSpPr>
              <p:nvPr/>
            </p:nvSpPr>
            <p:spPr bwMode="auto">
              <a:xfrm>
                <a:off x="2843"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2" name="Rectangle 564">
                <a:extLst>
                  <a:ext uri="{FF2B5EF4-FFF2-40B4-BE49-F238E27FC236}">
                    <a16:creationId xmlns:a16="http://schemas.microsoft.com/office/drawing/2014/main" id="{B1ACA43D-8A03-460E-9471-8F597C52E2EC}"/>
                  </a:ext>
                </a:extLst>
              </p:cNvPr>
              <p:cNvSpPr>
                <a:spLocks noChangeArrowheads="1"/>
              </p:cNvSpPr>
              <p:nvPr/>
            </p:nvSpPr>
            <p:spPr bwMode="auto">
              <a:xfrm>
                <a:off x="2930"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3" name="Rectangle 565">
                <a:extLst>
                  <a:ext uri="{FF2B5EF4-FFF2-40B4-BE49-F238E27FC236}">
                    <a16:creationId xmlns:a16="http://schemas.microsoft.com/office/drawing/2014/main" id="{54902602-C701-4ABB-BAE2-922E8835C999}"/>
                  </a:ext>
                </a:extLst>
              </p:cNvPr>
              <p:cNvSpPr>
                <a:spLocks noChangeArrowheads="1"/>
              </p:cNvSpPr>
              <p:nvPr/>
            </p:nvSpPr>
            <p:spPr bwMode="auto">
              <a:xfrm>
                <a:off x="2958"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4" name="Rectangle 566">
                <a:extLst>
                  <a:ext uri="{FF2B5EF4-FFF2-40B4-BE49-F238E27FC236}">
                    <a16:creationId xmlns:a16="http://schemas.microsoft.com/office/drawing/2014/main" id="{8DC04D47-B242-4A46-8C51-7FF7F017AD9F}"/>
                  </a:ext>
                </a:extLst>
              </p:cNvPr>
              <p:cNvSpPr>
                <a:spLocks noChangeArrowheads="1"/>
              </p:cNvSpPr>
              <p:nvPr/>
            </p:nvSpPr>
            <p:spPr bwMode="auto">
              <a:xfrm>
                <a:off x="3046"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5" name="Rectangle 567">
                <a:extLst>
                  <a:ext uri="{FF2B5EF4-FFF2-40B4-BE49-F238E27FC236}">
                    <a16:creationId xmlns:a16="http://schemas.microsoft.com/office/drawing/2014/main" id="{C395BCED-728B-4B57-B3A3-A04EC39EA0AA}"/>
                  </a:ext>
                </a:extLst>
              </p:cNvPr>
              <p:cNvSpPr>
                <a:spLocks noChangeArrowheads="1"/>
              </p:cNvSpPr>
              <p:nvPr/>
            </p:nvSpPr>
            <p:spPr bwMode="auto">
              <a:xfrm>
                <a:off x="3105"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6" name="Rectangle 568">
                <a:extLst>
                  <a:ext uri="{FF2B5EF4-FFF2-40B4-BE49-F238E27FC236}">
                    <a16:creationId xmlns:a16="http://schemas.microsoft.com/office/drawing/2014/main" id="{CCD2E710-68FF-4DFF-8B9B-AD7E876BB4BE}"/>
                  </a:ext>
                </a:extLst>
              </p:cNvPr>
              <p:cNvSpPr>
                <a:spLocks noChangeArrowheads="1"/>
              </p:cNvSpPr>
              <p:nvPr/>
            </p:nvSpPr>
            <p:spPr bwMode="auto">
              <a:xfrm>
                <a:off x="3280" y="1576"/>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7" name="Rectangle 569">
                <a:extLst>
                  <a:ext uri="{FF2B5EF4-FFF2-40B4-BE49-F238E27FC236}">
                    <a16:creationId xmlns:a16="http://schemas.microsoft.com/office/drawing/2014/main" id="{775167D5-138D-4562-B730-B61C5EFCB6C0}"/>
                  </a:ext>
                </a:extLst>
              </p:cNvPr>
              <p:cNvSpPr>
                <a:spLocks noChangeArrowheads="1"/>
              </p:cNvSpPr>
              <p:nvPr/>
            </p:nvSpPr>
            <p:spPr bwMode="auto">
              <a:xfrm>
                <a:off x="3311" y="1576"/>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8" name="Rectangle 570">
                <a:extLst>
                  <a:ext uri="{FF2B5EF4-FFF2-40B4-BE49-F238E27FC236}">
                    <a16:creationId xmlns:a16="http://schemas.microsoft.com/office/drawing/2014/main" id="{DACD1CD2-B946-4405-A33B-86A05EEF9FCA}"/>
                  </a:ext>
                </a:extLst>
              </p:cNvPr>
              <p:cNvSpPr>
                <a:spLocks noChangeArrowheads="1"/>
              </p:cNvSpPr>
              <p:nvPr/>
            </p:nvSpPr>
            <p:spPr bwMode="auto">
              <a:xfrm>
                <a:off x="219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9" name="Rectangle 571">
                <a:extLst>
                  <a:ext uri="{FF2B5EF4-FFF2-40B4-BE49-F238E27FC236}">
                    <a16:creationId xmlns:a16="http://schemas.microsoft.com/office/drawing/2014/main" id="{8F88DA29-3D3A-4777-95D1-FCD060AC513E}"/>
                  </a:ext>
                </a:extLst>
              </p:cNvPr>
              <p:cNvSpPr>
                <a:spLocks noChangeArrowheads="1"/>
              </p:cNvSpPr>
              <p:nvPr/>
            </p:nvSpPr>
            <p:spPr bwMode="auto">
              <a:xfrm>
                <a:off x="2257"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0" name="Rectangle 572">
                <a:extLst>
                  <a:ext uri="{FF2B5EF4-FFF2-40B4-BE49-F238E27FC236}">
                    <a16:creationId xmlns:a16="http://schemas.microsoft.com/office/drawing/2014/main" id="{D2C6B53E-E253-4515-B5F1-C1EDD52AA03D}"/>
                  </a:ext>
                </a:extLst>
              </p:cNvPr>
              <p:cNvSpPr>
                <a:spLocks noChangeArrowheads="1"/>
              </p:cNvSpPr>
              <p:nvPr/>
            </p:nvSpPr>
            <p:spPr bwMode="auto">
              <a:xfrm>
                <a:off x="2285"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1" name="Rectangle 573">
                <a:extLst>
                  <a:ext uri="{FF2B5EF4-FFF2-40B4-BE49-F238E27FC236}">
                    <a16:creationId xmlns:a16="http://schemas.microsoft.com/office/drawing/2014/main" id="{D173FA08-945F-42BB-B10F-265EF0813778}"/>
                  </a:ext>
                </a:extLst>
              </p:cNvPr>
              <p:cNvSpPr>
                <a:spLocks noChangeArrowheads="1"/>
              </p:cNvSpPr>
              <p:nvPr/>
            </p:nvSpPr>
            <p:spPr bwMode="auto">
              <a:xfrm>
                <a:off x="2316"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2" name="Rectangle 574">
                <a:extLst>
                  <a:ext uri="{FF2B5EF4-FFF2-40B4-BE49-F238E27FC236}">
                    <a16:creationId xmlns:a16="http://schemas.microsoft.com/office/drawing/2014/main" id="{72349D82-ABEA-4A67-85C0-E903F4A70F47}"/>
                  </a:ext>
                </a:extLst>
              </p:cNvPr>
              <p:cNvSpPr>
                <a:spLocks noChangeArrowheads="1"/>
              </p:cNvSpPr>
              <p:nvPr/>
            </p:nvSpPr>
            <p:spPr bwMode="auto">
              <a:xfrm>
                <a:off x="2403"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3" name="Rectangle 575">
                <a:extLst>
                  <a:ext uri="{FF2B5EF4-FFF2-40B4-BE49-F238E27FC236}">
                    <a16:creationId xmlns:a16="http://schemas.microsoft.com/office/drawing/2014/main" id="{81FA3368-D023-4BE4-91D6-298909B3121C}"/>
                  </a:ext>
                </a:extLst>
              </p:cNvPr>
              <p:cNvSpPr>
                <a:spLocks noChangeArrowheads="1"/>
              </p:cNvSpPr>
              <p:nvPr/>
            </p:nvSpPr>
            <p:spPr bwMode="auto">
              <a:xfrm>
                <a:off x="2431"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4" name="Rectangle 576">
                <a:extLst>
                  <a:ext uri="{FF2B5EF4-FFF2-40B4-BE49-F238E27FC236}">
                    <a16:creationId xmlns:a16="http://schemas.microsoft.com/office/drawing/2014/main" id="{9566CA23-DEA6-4C48-841C-13B895001900}"/>
                  </a:ext>
                </a:extLst>
              </p:cNvPr>
              <p:cNvSpPr>
                <a:spLocks noChangeArrowheads="1"/>
              </p:cNvSpPr>
              <p:nvPr/>
            </p:nvSpPr>
            <p:spPr bwMode="auto">
              <a:xfrm>
                <a:off x="2462"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5" name="Rectangle 577">
                <a:extLst>
                  <a:ext uri="{FF2B5EF4-FFF2-40B4-BE49-F238E27FC236}">
                    <a16:creationId xmlns:a16="http://schemas.microsoft.com/office/drawing/2014/main" id="{E8A5D0F4-99F6-43BB-8F22-A34F2E41F967}"/>
                  </a:ext>
                </a:extLst>
              </p:cNvPr>
              <p:cNvSpPr>
                <a:spLocks noChangeArrowheads="1"/>
              </p:cNvSpPr>
              <p:nvPr/>
            </p:nvSpPr>
            <p:spPr bwMode="auto">
              <a:xfrm>
                <a:off x="257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6" name="Rectangle 578">
                <a:extLst>
                  <a:ext uri="{FF2B5EF4-FFF2-40B4-BE49-F238E27FC236}">
                    <a16:creationId xmlns:a16="http://schemas.microsoft.com/office/drawing/2014/main" id="{772A1B1C-3C06-485B-8876-F17AD820E4C7}"/>
                  </a:ext>
                </a:extLst>
              </p:cNvPr>
              <p:cNvSpPr>
                <a:spLocks noChangeArrowheads="1"/>
              </p:cNvSpPr>
              <p:nvPr/>
            </p:nvSpPr>
            <p:spPr bwMode="auto">
              <a:xfrm>
                <a:off x="2606"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7" name="Rectangle 579">
                <a:extLst>
                  <a:ext uri="{FF2B5EF4-FFF2-40B4-BE49-F238E27FC236}">
                    <a16:creationId xmlns:a16="http://schemas.microsoft.com/office/drawing/2014/main" id="{E69A4B34-3111-4140-8710-497F1D8B657A}"/>
                  </a:ext>
                </a:extLst>
              </p:cNvPr>
              <p:cNvSpPr>
                <a:spLocks noChangeArrowheads="1"/>
              </p:cNvSpPr>
              <p:nvPr/>
            </p:nvSpPr>
            <p:spPr bwMode="auto">
              <a:xfrm>
                <a:off x="2665"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8" name="Rectangle 580">
                <a:extLst>
                  <a:ext uri="{FF2B5EF4-FFF2-40B4-BE49-F238E27FC236}">
                    <a16:creationId xmlns:a16="http://schemas.microsoft.com/office/drawing/2014/main" id="{2A319ED8-1AD0-4AA7-9C2B-9D8A7B1A82B2}"/>
                  </a:ext>
                </a:extLst>
              </p:cNvPr>
              <p:cNvSpPr>
                <a:spLocks noChangeArrowheads="1"/>
              </p:cNvSpPr>
              <p:nvPr/>
            </p:nvSpPr>
            <p:spPr bwMode="auto">
              <a:xfrm>
                <a:off x="2753"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9" name="Rectangle 581">
                <a:extLst>
                  <a:ext uri="{FF2B5EF4-FFF2-40B4-BE49-F238E27FC236}">
                    <a16:creationId xmlns:a16="http://schemas.microsoft.com/office/drawing/2014/main" id="{3E72495F-4310-4C36-BBC5-D045F4CAD07E}"/>
                  </a:ext>
                </a:extLst>
              </p:cNvPr>
              <p:cNvSpPr>
                <a:spLocks noChangeArrowheads="1"/>
              </p:cNvSpPr>
              <p:nvPr/>
            </p:nvSpPr>
            <p:spPr bwMode="auto">
              <a:xfrm>
                <a:off x="2784"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0" name="Rectangle 582">
                <a:extLst>
                  <a:ext uri="{FF2B5EF4-FFF2-40B4-BE49-F238E27FC236}">
                    <a16:creationId xmlns:a16="http://schemas.microsoft.com/office/drawing/2014/main" id="{D86C24E7-C67E-4159-B28F-37A14017F2B6}"/>
                  </a:ext>
                </a:extLst>
              </p:cNvPr>
              <p:cNvSpPr>
                <a:spLocks noChangeArrowheads="1"/>
              </p:cNvSpPr>
              <p:nvPr/>
            </p:nvSpPr>
            <p:spPr bwMode="auto">
              <a:xfrm>
                <a:off x="2812"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1" name="Rectangle 583">
                <a:extLst>
                  <a:ext uri="{FF2B5EF4-FFF2-40B4-BE49-F238E27FC236}">
                    <a16:creationId xmlns:a16="http://schemas.microsoft.com/office/drawing/2014/main" id="{A918416D-3FB3-4EBD-9FF2-6AA78675F55D}"/>
                  </a:ext>
                </a:extLst>
              </p:cNvPr>
              <p:cNvSpPr>
                <a:spLocks noChangeArrowheads="1"/>
              </p:cNvSpPr>
              <p:nvPr/>
            </p:nvSpPr>
            <p:spPr bwMode="auto">
              <a:xfrm>
                <a:off x="2843"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2" name="Rectangle 584">
                <a:extLst>
                  <a:ext uri="{FF2B5EF4-FFF2-40B4-BE49-F238E27FC236}">
                    <a16:creationId xmlns:a16="http://schemas.microsoft.com/office/drawing/2014/main" id="{6CA9D3ED-502F-4D3E-B721-C1F51F85A365}"/>
                  </a:ext>
                </a:extLst>
              </p:cNvPr>
              <p:cNvSpPr>
                <a:spLocks noChangeArrowheads="1"/>
              </p:cNvSpPr>
              <p:nvPr/>
            </p:nvSpPr>
            <p:spPr bwMode="auto">
              <a:xfrm>
                <a:off x="2958"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3" name="Rectangle 585">
                <a:extLst>
                  <a:ext uri="{FF2B5EF4-FFF2-40B4-BE49-F238E27FC236}">
                    <a16:creationId xmlns:a16="http://schemas.microsoft.com/office/drawing/2014/main" id="{D165DCD4-7413-48B3-B9E4-D92FCAAAF638}"/>
                  </a:ext>
                </a:extLst>
              </p:cNvPr>
              <p:cNvSpPr>
                <a:spLocks noChangeArrowheads="1"/>
              </p:cNvSpPr>
              <p:nvPr/>
            </p:nvSpPr>
            <p:spPr bwMode="auto">
              <a:xfrm>
                <a:off x="2989"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4" name="Rectangle 586">
                <a:extLst>
                  <a:ext uri="{FF2B5EF4-FFF2-40B4-BE49-F238E27FC236}">
                    <a16:creationId xmlns:a16="http://schemas.microsoft.com/office/drawing/2014/main" id="{8D518A86-5745-41BB-BD06-1BD256F5FE4F}"/>
                  </a:ext>
                </a:extLst>
              </p:cNvPr>
              <p:cNvSpPr>
                <a:spLocks noChangeArrowheads="1"/>
              </p:cNvSpPr>
              <p:nvPr/>
            </p:nvSpPr>
            <p:spPr bwMode="auto">
              <a:xfrm>
                <a:off x="3018"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5" name="Rectangle 587">
                <a:extLst>
                  <a:ext uri="{FF2B5EF4-FFF2-40B4-BE49-F238E27FC236}">
                    <a16:creationId xmlns:a16="http://schemas.microsoft.com/office/drawing/2014/main" id="{4DA5F294-5B11-4C9A-A6BB-D434CC9AB7A3}"/>
                  </a:ext>
                </a:extLst>
              </p:cNvPr>
              <p:cNvSpPr>
                <a:spLocks noChangeArrowheads="1"/>
              </p:cNvSpPr>
              <p:nvPr/>
            </p:nvSpPr>
            <p:spPr bwMode="auto">
              <a:xfrm>
                <a:off x="3077"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6" name="Rectangle 588">
                <a:extLst>
                  <a:ext uri="{FF2B5EF4-FFF2-40B4-BE49-F238E27FC236}">
                    <a16:creationId xmlns:a16="http://schemas.microsoft.com/office/drawing/2014/main" id="{1BB69D65-7E1C-4221-B75D-00FD974172F0}"/>
                  </a:ext>
                </a:extLst>
              </p:cNvPr>
              <p:cNvSpPr>
                <a:spLocks noChangeArrowheads="1"/>
              </p:cNvSpPr>
              <p:nvPr/>
            </p:nvSpPr>
            <p:spPr bwMode="auto">
              <a:xfrm>
                <a:off x="3105"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7" name="Rectangle 589">
                <a:extLst>
                  <a:ext uri="{FF2B5EF4-FFF2-40B4-BE49-F238E27FC236}">
                    <a16:creationId xmlns:a16="http://schemas.microsoft.com/office/drawing/2014/main" id="{F4C65784-0092-42B0-B8D2-5183E3D9820C}"/>
                  </a:ext>
                </a:extLst>
              </p:cNvPr>
              <p:cNvSpPr>
                <a:spLocks noChangeArrowheads="1"/>
              </p:cNvSpPr>
              <p:nvPr/>
            </p:nvSpPr>
            <p:spPr bwMode="auto">
              <a:xfrm>
                <a:off x="3133"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8" name="Rectangle 590">
                <a:extLst>
                  <a:ext uri="{FF2B5EF4-FFF2-40B4-BE49-F238E27FC236}">
                    <a16:creationId xmlns:a16="http://schemas.microsoft.com/office/drawing/2014/main" id="{091F252F-05DA-464D-AC90-9A85F7A0F14B}"/>
                  </a:ext>
                </a:extLst>
              </p:cNvPr>
              <p:cNvSpPr>
                <a:spLocks noChangeArrowheads="1"/>
              </p:cNvSpPr>
              <p:nvPr/>
            </p:nvSpPr>
            <p:spPr bwMode="auto">
              <a:xfrm>
                <a:off x="3192"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9" name="Rectangle 591">
                <a:extLst>
                  <a:ext uri="{FF2B5EF4-FFF2-40B4-BE49-F238E27FC236}">
                    <a16:creationId xmlns:a16="http://schemas.microsoft.com/office/drawing/2014/main" id="{C49FDAF3-3021-4E89-8434-8425AA3C7569}"/>
                  </a:ext>
                </a:extLst>
              </p:cNvPr>
              <p:cNvSpPr>
                <a:spLocks noChangeArrowheads="1"/>
              </p:cNvSpPr>
              <p:nvPr/>
            </p:nvSpPr>
            <p:spPr bwMode="auto">
              <a:xfrm>
                <a:off x="3251" y="1605"/>
                <a:ext cx="29"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0" name="Rectangle 592">
                <a:extLst>
                  <a:ext uri="{FF2B5EF4-FFF2-40B4-BE49-F238E27FC236}">
                    <a16:creationId xmlns:a16="http://schemas.microsoft.com/office/drawing/2014/main" id="{9ADF2432-DB80-42AE-A3FB-AF068B24899A}"/>
                  </a:ext>
                </a:extLst>
              </p:cNvPr>
              <p:cNvSpPr>
                <a:spLocks noChangeArrowheads="1"/>
              </p:cNvSpPr>
              <p:nvPr/>
            </p:nvSpPr>
            <p:spPr bwMode="auto">
              <a:xfrm>
                <a:off x="3280" y="1605"/>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1" name="Rectangle 593">
                <a:extLst>
                  <a:ext uri="{FF2B5EF4-FFF2-40B4-BE49-F238E27FC236}">
                    <a16:creationId xmlns:a16="http://schemas.microsoft.com/office/drawing/2014/main" id="{207D7880-DD85-42DF-BC9B-0441B55BB574}"/>
                  </a:ext>
                </a:extLst>
              </p:cNvPr>
              <p:cNvSpPr>
                <a:spLocks noChangeArrowheads="1"/>
              </p:cNvSpPr>
              <p:nvPr/>
            </p:nvSpPr>
            <p:spPr bwMode="auto">
              <a:xfrm>
                <a:off x="3370" y="1605"/>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2" name="Rectangle 594">
                <a:extLst>
                  <a:ext uri="{FF2B5EF4-FFF2-40B4-BE49-F238E27FC236}">
                    <a16:creationId xmlns:a16="http://schemas.microsoft.com/office/drawing/2014/main" id="{DF22363A-60B9-411D-83D6-CFAFC1062B0D}"/>
                  </a:ext>
                </a:extLst>
              </p:cNvPr>
              <p:cNvSpPr>
                <a:spLocks noChangeArrowheads="1"/>
              </p:cNvSpPr>
              <p:nvPr/>
            </p:nvSpPr>
            <p:spPr bwMode="auto">
              <a:xfrm>
                <a:off x="2198"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3" name="Rectangle 595">
                <a:extLst>
                  <a:ext uri="{FF2B5EF4-FFF2-40B4-BE49-F238E27FC236}">
                    <a16:creationId xmlns:a16="http://schemas.microsoft.com/office/drawing/2014/main" id="{2688C21F-B7D1-4FA4-89E6-BE2FB0AB55F7}"/>
                  </a:ext>
                </a:extLst>
              </p:cNvPr>
              <p:cNvSpPr>
                <a:spLocks noChangeArrowheads="1"/>
              </p:cNvSpPr>
              <p:nvPr/>
            </p:nvSpPr>
            <p:spPr bwMode="auto">
              <a:xfrm>
                <a:off x="2226"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4" name="Rectangle 596">
                <a:extLst>
                  <a:ext uri="{FF2B5EF4-FFF2-40B4-BE49-F238E27FC236}">
                    <a16:creationId xmlns:a16="http://schemas.microsoft.com/office/drawing/2014/main" id="{B6C29A24-61FE-4A4F-841D-313E36CE9DF1}"/>
                  </a:ext>
                </a:extLst>
              </p:cNvPr>
              <p:cNvSpPr>
                <a:spLocks noChangeArrowheads="1"/>
              </p:cNvSpPr>
              <p:nvPr/>
            </p:nvSpPr>
            <p:spPr bwMode="auto">
              <a:xfrm>
                <a:off x="2257"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5" name="Rectangle 597">
                <a:extLst>
                  <a:ext uri="{FF2B5EF4-FFF2-40B4-BE49-F238E27FC236}">
                    <a16:creationId xmlns:a16="http://schemas.microsoft.com/office/drawing/2014/main" id="{E6C9E721-0879-47CA-A1D5-D7C6DDCFB109}"/>
                  </a:ext>
                </a:extLst>
              </p:cNvPr>
              <p:cNvSpPr>
                <a:spLocks noChangeArrowheads="1"/>
              </p:cNvSpPr>
              <p:nvPr/>
            </p:nvSpPr>
            <p:spPr bwMode="auto">
              <a:xfrm>
                <a:off x="2285"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6" name="Rectangle 598">
                <a:extLst>
                  <a:ext uri="{FF2B5EF4-FFF2-40B4-BE49-F238E27FC236}">
                    <a16:creationId xmlns:a16="http://schemas.microsoft.com/office/drawing/2014/main" id="{A93A9632-B965-4218-BB20-1F3C1FBF28E9}"/>
                  </a:ext>
                </a:extLst>
              </p:cNvPr>
              <p:cNvSpPr>
                <a:spLocks noChangeArrowheads="1"/>
              </p:cNvSpPr>
              <p:nvPr/>
            </p:nvSpPr>
            <p:spPr bwMode="auto">
              <a:xfrm>
                <a:off x="2316"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7" name="Rectangle 599">
                <a:extLst>
                  <a:ext uri="{FF2B5EF4-FFF2-40B4-BE49-F238E27FC236}">
                    <a16:creationId xmlns:a16="http://schemas.microsoft.com/office/drawing/2014/main" id="{B536DFA4-A247-4599-83EF-052311448283}"/>
                  </a:ext>
                </a:extLst>
              </p:cNvPr>
              <p:cNvSpPr>
                <a:spLocks noChangeArrowheads="1"/>
              </p:cNvSpPr>
              <p:nvPr/>
            </p:nvSpPr>
            <p:spPr bwMode="auto">
              <a:xfrm>
                <a:off x="234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8" name="Rectangle 600">
                <a:extLst>
                  <a:ext uri="{FF2B5EF4-FFF2-40B4-BE49-F238E27FC236}">
                    <a16:creationId xmlns:a16="http://schemas.microsoft.com/office/drawing/2014/main" id="{074C6B50-3E31-4120-B6CB-C6B986B781FD}"/>
                  </a:ext>
                </a:extLst>
              </p:cNvPr>
              <p:cNvSpPr>
                <a:spLocks noChangeArrowheads="1"/>
              </p:cNvSpPr>
              <p:nvPr/>
            </p:nvSpPr>
            <p:spPr bwMode="auto">
              <a:xfrm>
                <a:off x="2372"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9" name="Rectangle 601">
                <a:extLst>
                  <a:ext uri="{FF2B5EF4-FFF2-40B4-BE49-F238E27FC236}">
                    <a16:creationId xmlns:a16="http://schemas.microsoft.com/office/drawing/2014/main" id="{1F64196F-40A8-4460-BFBB-73FE1DDC8826}"/>
                  </a:ext>
                </a:extLst>
              </p:cNvPr>
              <p:cNvSpPr>
                <a:spLocks noChangeArrowheads="1"/>
              </p:cNvSpPr>
              <p:nvPr/>
            </p:nvSpPr>
            <p:spPr bwMode="auto">
              <a:xfrm>
                <a:off x="2431"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0" name="Rectangle 602">
                <a:extLst>
                  <a:ext uri="{FF2B5EF4-FFF2-40B4-BE49-F238E27FC236}">
                    <a16:creationId xmlns:a16="http://schemas.microsoft.com/office/drawing/2014/main" id="{F7F49805-EF59-4016-BB08-FD95BFF0615A}"/>
                  </a:ext>
                </a:extLst>
              </p:cNvPr>
              <p:cNvSpPr>
                <a:spLocks noChangeArrowheads="1"/>
              </p:cNvSpPr>
              <p:nvPr/>
            </p:nvSpPr>
            <p:spPr bwMode="auto">
              <a:xfrm>
                <a:off x="2462"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1" name="Rectangle 603">
                <a:extLst>
                  <a:ext uri="{FF2B5EF4-FFF2-40B4-BE49-F238E27FC236}">
                    <a16:creationId xmlns:a16="http://schemas.microsoft.com/office/drawing/2014/main" id="{0AFD9E5B-2D8B-484F-9370-10C6EF3143F2}"/>
                  </a:ext>
                </a:extLst>
              </p:cNvPr>
              <p:cNvSpPr>
                <a:spLocks noChangeArrowheads="1"/>
              </p:cNvSpPr>
              <p:nvPr/>
            </p:nvSpPr>
            <p:spPr bwMode="auto">
              <a:xfrm>
                <a:off x="249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2" name="Rectangle 604">
                <a:extLst>
                  <a:ext uri="{FF2B5EF4-FFF2-40B4-BE49-F238E27FC236}">
                    <a16:creationId xmlns:a16="http://schemas.microsoft.com/office/drawing/2014/main" id="{DE489B14-3E63-45A7-9A5A-70FFCEB3F7F6}"/>
                  </a:ext>
                </a:extLst>
              </p:cNvPr>
              <p:cNvSpPr>
                <a:spLocks noChangeArrowheads="1"/>
              </p:cNvSpPr>
              <p:nvPr/>
            </p:nvSpPr>
            <p:spPr bwMode="auto">
              <a:xfrm>
                <a:off x="2550"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3" name="Rectangle 605">
                <a:extLst>
                  <a:ext uri="{FF2B5EF4-FFF2-40B4-BE49-F238E27FC236}">
                    <a16:creationId xmlns:a16="http://schemas.microsoft.com/office/drawing/2014/main" id="{1980CFA2-32E2-448A-BC27-451C5BE874BB}"/>
                  </a:ext>
                </a:extLst>
              </p:cNvPr>
              <p:cNvSpPr>
                <a:spLocks noChangeArrowheads="1"/>
              </p:cNvSpPr>
              <p:nvPr/>
            </p:nvSpPr>
            <p:spPr bwMode="auto">
              <a:xfrm>
                <a:off x="2578"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4" name="Rectangle 606">
                <a:extLst>
                  <a:ext uri="{FF2B5EF4-FFF2-40B4-BE49-F238E27FC236}">
                    <a16:creationId xmlns:a16="http://schemas.microsoft.com/office/drawing/2014/main" id="{FE127C7B-9E5D-49B7-98E1-A307BD0E6476}"/>
                  </a:ext>
                </a:extLst>
              </p:cNvPr>
              <p:cNvSpPr>
                <a:spLocks noChangeArrowheads="1"/>
              </p:cNvSpPr>
              <p:nvPr/>
            </p:nvSpPr>
            <p:spPr bwMode="auto">
              <a:xfrm>
                <a:off x="2665"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5" name="Rectangle 607">
                <a:extLst>
                  <a:ext uri="{FF2B5EF4-FFF2-40B4-BE49-F238E27FC236}">
                    <a16:creationId xmlns:a16="http://schemas.microsoft.com/office/drawing/2014/main" id="{395DD0F0-736E-4925-9BAB-DD26883B2625}"/>
                  </a:ext>
                </a:extLst>
              </p:cNvPr>
              <p:cNvSpPr>
                <a:spLocks noChangeArrowheads="1"/>
              </p:cNvSpPr>
              <p:nvPr/>
            </p:nvSpPr>
            <p:spPr bwMode="auto">
              <a:xfrm>
                <a:off x="2696"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grpSp>
          <p:nvGrpSpPr>
            <p:cNvPr id="21" name="Group 809">
              <a:extLst>
                <a:ext uri="{FF2B5EF4-FFF2-40B4-BE49-F238E27FC236}">
                  <a16:creationId xmlns:a16="http://schemas.microsoft.com/office/drawing/2014/main" id="{6E8DD583-9A33-40B5-B70E-8F6DB0023C1F}"/>
                </a:ext>
              </a:extLst>
            </p:cNvPr>
            <p:cNvGrpSpPr>
              <a:grpSpLocks/>
            </p:cNvGrpSpPr>
            <p:nvPr/>
          </p:nvGrpSpPr>
          <p:grpSpPr bwMode="auto">
            <a:xfrm>
              <a:off x="2198" y="1635"/>
              <a:ext cx="1200" cy="322"/>
              <a:chOff x="2198" y="1635"/>
              <a:chExt cx="1200" cy="322"/>
            </a:xfrm>
          </p:grpSpPr>
          <p:sp>
            <p:nvSpPr>
              <p:cNvPr id="33" name="Rectangle 609">
                <a:extLst>
                  <a:ext uri="{FF2B5EF4-FFF2-40B4-BE49-F238E27FC236}">
                    <a16:creationId xmlns:a16="http://schemas.microsoft.com/office/drawing/2014/main" id="{620420E9-FB43-49AA-AA89-99B6CA6B5A2B}"/>
                  </a:ext>
                </a:extLst>
              </p:cNvPr>
              <p:cNvSpPr>
                <a:spLocks noChangeArrowheads="1"/>
              </p:cNvSpPr>
              <p:nvPr/>
            </p:nvSpPr>
            <p:spPr bwMode="auto">
              <a:xfrm>
                <a:off x="2753"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5" name="Rectangle 610">
                <a:extLst>
                  <a:ext uri="{FF2B5EF4-FFF2-40B4-BE49-F238E27FC236}">
                    <a16:creationId xmlns:a16="http://schemas.microsoft.com/office/drawing/2014/main" id="{9B6AF451-DBD9-491F-8327-5F6993C24DF9}"/>
                  </a:ext>
                </a:extLst>
              </p:cNvPr>
              <p:cNvSpPr>
                <a:spLocks noChangeArrowheads="1"/>
              </p:cNvSpPr>
              <p:nvPr/>
            </p:nvSpPr>
            <p:spPr bwMode="auto">
              <a:xfrm>
                <a:off x="278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6" name="Rectangle 611">
                <a:extLst>
                  <a:ext uri="{FF2B5EF4-FFF2-40B4-BE49-F238E27FC236}">
                    <a16:creationId xmlns:a16="http://schemas.microsoft.com/office/drawing/2014/main" id="{E6CB3A69-4A8B-4933-9A82-8E54DCD96714}"/>
                  </a:ext>
                </a:extLst>
              </p:cNvPr>
              <p:cNvSpPr>
                <a:spLocks noChangeArrowheads="1"/>
              </p:cNvSpPr>
              <p:nvPr/>
            </p:nvSpPr>
            <p:spPr bwMode="auto">
              <a:xfrm>
                <a:off x="287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8" name="Rectangle 612">
                <a:extLst>
                  <a:ext uri="{FF2B5EF4-FFF2-40B4-BE49-F238E27FC236}">
                    <a16:creationId xmlns:a16="http://schemas.microsoft.com/office/drawing/2014/main" id="{97830A5E-0370-4701-91B5-70E1A272627D}"/>
                  </a:ext>
                </a:extLst>
              </p:cNvPr>
              <p:cNvSpPr>
                <a:spLocks noChangeArrowheads="1"/>
              </p:cNvSpPr>
              <p:nvPr/>
            </p:nvSpPr>
            <p:spPr bwMode="auto">
              <a:xfrm>
                <a:off x="2989"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9" name="Rectangle 613">
                <a:extLst>
                  <a:ext uri="{FF2B5EF4-FFF2-40B4-BE49-F238E27FC236}">
                    <a16:creationId xmlns:a16="http://schemas.microsoft.com/office/drawing/2014/main" id="{57F7FC21-FD17-4B21-AC34-93C1EA1552B5}"/>
                  </a:ext>
                </a:extLst>
              </p:cNvPr>
              <p:cNvSpPr>
                <a:spLocks noChangeArrowheads="1"/>
              </p:cNvSpPr>
              <p:nvPr/>
            </p:nvSpPr>
            <p:spPr bwMode="auto">
              <a:xfrm>
                <a:off x="3077"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0" name="Rectangle 614">
                <a:extLst>
                  <a:ext uri="{FF2B5EF4-FFF2-40B4-BE49-F238E27FC236}">
                    <a16:creationId xmlns:a16="http://schemas.microsoft.com/office/drawing/2014/main" id="{21959DAB-75BC-4B39-85F2-472DE9F22526}"/>
                  </a:ext>
                </a:extLst>
              </p:cNvPr>
              <p:cNvSpPr>
                <a:spLocks noChangeArrowheads="1"/>
              </p:cNvSpPr>
              <p:nvPr/>
            </p:nvSpPr>
            <p:spPr bwMode="auto">
              <a:xfrm>
                <a:off x="3105"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1" name="Rectangle 615">
                <a:extLst>
                  <a:ext uri="{FF2B5EF4-FFF2-40B4-BE49-F238E27FC236}">
                    <a16:creationId xmlns:a16="http://schemas.microsoft.com/office/drawing/2014/main" id="{D2E680A9-866E-4CA9-8B5E-B9FE5890964C}"/>
                  </a:ext>
                </a:extLst>
              </p:cNvPr>
              <p:cNvSpPr>
                <a:spLocks noChangeArrowheads="1"/>
              </p:cNvSpPr>
              <p:nvPr/>
            </p:nvSpPr>
            <p:spPr bwMode="auto">
              <a:xfrm>
                <a:off x="3164"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2" name="Rectangle 616">
                <a:extLst>
                  <a:ext uri="{FF2B5EF4-FFF2-40B4-BE49-F238E27FC236}">
                    <a16:creationId xmlns:a16="http://schemas.microsoft.com/office/drawing/2014/main" id="{BC726C64-37BD-4BBD-9E4F-98E524B25A42}"/>
                  </a:ext>
                </a:extLst>
              </p:cNvPr>
              <p:cNvSpPr>
                <a:spLocks noChangeArrowheads="1"/>
              </p:cNvSpPr>
              <p:nvPr/>
            </p:nvSpPr>
            <p:spPr bwMode="auto">
              <a:xfrm>
                <a:off x="3192" y="1635"/>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3" name="Rectangle 617">
                <a:extLst>
                  <a:ext uri="{FF2B5EF4-FFF2-40B4-BE49-F238E27FC236}">
                    <a16:creationId xmlns:a16="http://schemas.microsoft.com/office/drawing/2014/main" id="{2739BD2B-1205-4608-A954-6680DE057169}"/>
                  </a:ext>
                </a:extLst>
              </p:cNvPr>
              <p:cNvSpPr>
                <a:spLocks noChangeArrowheads="1"/>
              </p:cNvSpPr>
              <p:nvPr/>
            </p:nvSpPr>
            <p:spPr bwMode="auto">
              <a:xfrm>
                <a:off x="3223"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5" name="Rectangle 618">
                <a:extLst>
                  <a:ext uri="{FF2B5EF4-FFF2-40B4-BE49-F238E27FC236}">
                    <a16:creationId xmlns:a16="http://schemas.microsoft.com/office/drawing/2014/main" id="{2944A2A7-594F-48E0-9917-37CCCE0047EA}"/>
                  </a:ext>
                </a:extLst>
              </p:cNvPr>
              <p:cNvSpPr>
                <a:spLocks noChangeArrowheads="1"/>
              </p:cNvSpPr>
              <p:nvPr/>
            </p:nvSpPr>
            <p:spPr bwMode="auto">
              <a:xfrm>
                <a:off x="3251" y="1635"/>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6" name="Rectangle 619">
                <a:extLst>
                  <a:ext uri="{FF2B5EF4-FFF2-40B4-BE49-F238E27FC236}">
                    <a16:creationId xmlns:a16="http://schemas.microsoft.com/office/drawing/2014/main" id="{0A2CB94A-DAAF-4A8E-B9EB-C050624E1437}"/>
                  </a:ext>
                </a:extLst>
              </p:cNvPr>
              <p:cNvSpPr>
                <a:spLocks noChangeArrowheads="1"/>
              </p:cNvSpPr>
              <p:nvPr/>
            </p:nvSpPr>
            <p:spPr bwMode="auto">
              <a:xfrm>
                <a:off x="3311"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7" name="Rectangle 620">
                <a:extLst>
                  <a:ext uri="{FF2B5EF4-FFF2-40B4-BE49-F238E27FC236}">
                    <a16:creationId xmlns:a16="http://schemas.microsoft.com/office/drawing/2014/main" id="{622DD699-26CA-4DAB-8633-154B726BE2DB}"/>
                  </a:ext>
                </a:extLst>
              </p:cNvPr>
              <p:cNvSpPr>
                <a:spLocks noChangeArrowheads="1"/>
              </p:cNvSpPr>
              <p:nvPr/>
            </p:nvSpPr>
            <p:spPr bwMode="auto">
              <a:xfrm>
                <a:off x="3370" y="1635"/>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8" name="Rectangle 621">
                <a:extLst>
                  <a:ext uri="{FF2B5EF4-FFF2-40B4-BE49-F238E27FC236}">
                    <a16:creationId xmlns:a16="http://schemas.microsoft.com/office/drawing/2014/main" id="{1B1E97A4-38F5-434E-905C-C8287B06FF91}"/>
                  </a:ext>
                </a:extLst>
              </p:cNvPr>
              <p:cNvSpPr>
                <a:spLocks noChangeArrowheads="1"/>
              </p:cNvSpPr>
              <p:nvPr/>
            </p:nvSpPr>
            <p:spPr bwMode="auto">
              <a:xfrm>
                <a:off x="2198"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49" name="Rectangle 622">
                <a:extLst>
                  <a:ext uri="{FF2B5EF4-FFF2-40B4-BE49-F238E27FC236}">
                    <a16:creationId xmlns:a16="http://schemas.microsoft.com/office/drawing/2014/main" id="{0F0297AB-996F-45B2-A602-D1E11F24FC94}"/>
                  </a:ext>
                </a:extLst>
              </p:cNvPr>
              <p:cNvSpPr>
                <a:spLocks noChangeArrowheads="1"/>
              </p:cNvSpPr>
              <p:nvPr/>
            </p:nvSpPr>
            <p:spPr bwMode="auto">
              <a:xfrm>
                <a:off x="2257"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0" name="Rectangle 623">
                <a:extLst>
                  <a:ext uri="{FF2B5EF4-FFF2-40B4-BE49-F238E27FC236}">
                    <a16:creationId xmlns:a16="http://schemas.microsoft.com/office/drawing/2014/main" id="{AB190026-16CF-4E63-8ED7-B8B1F6BB9CD9}"/>
                  </a:ext>
                </a:extLst>
              </p:cNvPr>
              <p:cNvSpPr>
                <a:spLocks noChangeArrowheads="1"/>
              </p:cNvSpPr>
              <p:nvPr/>
            </p:nvSpPr>
            <p:spPr bwMode="auto">
              <a:xfrm>
                <a:off x="234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1" name="Rectangle 624">
                <a:extLst>
                  <a:ext uri="{FF2B5EF4-FFF2-40B4-BE49-F238E27FC236}">
                    <a16:creationId xmlns:a16="http://schemas.microsoft.com/office/drawing/2014/main" id="{E8A1BD14-169C-4539-886B-6A0FA6637AFB}"/>
                  </a:ext>
                </a:extLst>
              </p:cNvPr>
              <p:cNvSpPr>
                <a:spLocks noChangeArrowheads="1"/>
              </p:cNvSpPr>
              <p:nvPr/>
            </p:nvSpPr>
            <p:spPr bwMode="auto">
              <a:xfrm>
                <a:off x="240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2" name="Rectangle 625">
                <a:extLst>
                  <a:ext uri="{FF2B5EF4-FFF2-40B4-BE49-F238E27FC236}">
                    <a16:creationId xmlns:a16="http://schemas.microsoft.com/office/drawing/2014/main" id="{F2BFC52F-984F-41D9-85EF-7C6AC07EC3C5}"/>
                  </a:ext>
                </a:extLst>
              </p:cNvPr>
              <p:cNvSpPr>
                <a:spLocks noChangeArrowheads="1"/>
              </p:cNvSpPr>
              <p:nvPr/>
            </p:nvSpPr>
            <p:spPr bwMode="auto">
              <a:xfrm>
                <a:off x="2491"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3" name="Rectangle 626">
                <a:extLst>
                  <a:ext uri="{FF2B5EF4-FFF2-40B4-BE49-F238E27FC236}">
                    <a16:creationId xmlns:a16="http://schemas.microsoft.com/office/drawing/2014/main" id="{6E4B169E-822F-4315-BAA6-37F1ACE059FF}"/>
                  </a:ext>
                </a:extLst>
              </p:cNvPr>
              <p:cNvSpPr>
                <a:spLocks noChangeArrowheads="1"/>
              </p:cNvSpPr>
              <p:nvPr/>
            </p:nvSpPr>
            <p:spPr bwMode="auto">
              <a:xfrm>
                <a:off x="2519"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4" name="Rectangle 627">
                <a:extLst>
                  <a:ext uri="{FF2B5EF4-FFF2-40B4-BE49-F238E27FC236}">
                    <a16:creationId xmlns:a16="http://schemas.microsoft.com/office/drawing/2014/main" id="{0E568E75-8E37-49DB-913D-F238CAB51554}"/>
                  </a:ext>
                </a:extLst>
              </p:cNvPr>
              <p:cNvSpPr>
                <a:spLocks noChangeArrowheads="1"/>
              </p:cNvSpPr>
              <p:nvPr/>
            </p:nvSpPr>
            <p:spPr bwMode="auto">
              <a:xfrm>
                <a:off x="2606"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5" name="Rectangle 628">
                <a:extLst>
                  <a:ext uri="{FF2B5EF4-FFF2-40B4-BE49-F238E27FC236}">
                    <a16:creationId xmlns:a16="http://schemas.microsoft.com/office/drawing/2014/main" id="{6496A4FE-F278-4F54-A995-9E9A7DD2F708}"/>
                  </a:ext>
                </a:extLst>
              </p:cNvPr>
              <p:cNvSpPr>
                <a:spLocks noChangeArrowheads="1"/>
              </p:cNvSpPr>
              <p:nvPr/>
            </p:nvSpPr>
            <p:spPr bwMode="auto">
              <a:xfrm>
                <a:off x="2637"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6" name="Rectangle 629">
                <a:extLst>
                  <a:ext uri="{FF2B5EF4-FFF2-40B4-BE49-F238E27FC236}">
                    <a16:creationId xmlns:a16="http://schemas.microsoft.com/office/drawing/2014/main" id="{E989160C-D3EC-4D1E-8E2E-90E35B611C07}"/>
                  </a:ext>
                </a:extLst>
              </p:cNvPr>
              <p:cNvSpPr>
                <a:spLocks noChangeArrowheads="1"/>
              </p:cNvSpPr>
              <p:nvPr/>
            </p:nvSpPr>
            <p:spPr bwMode="auto">
              <a:xfrm>
                <a:off x="2665"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7" name="Rectangle 630">
                <a:extLst>
                  <a:ext uri="{FF2B5EF4-FFF2-40B4-BE49-F238E27FC236}">
                    <a16:creationId xmlns:a16="http://schemas.microsoft.com/office/drawing/2014/main" id="{728CB27A-6099-4DAD-8858-8C1F81DAB3FF}"/>
                  </a:ext>
                </a:extLst>
              </p:cNvPr>
              <p:cNvSpPr>
                <a:spLocks noChangeArrowheads="1"/>
              </p:cNvSpPr>
              <p:nvPr/>
            </p:nvSpPr>
            <p:spPr bwMode="auto">
              <a:xfrm>
                <a:off x="278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8" name="Rectangle 631">
                <a:extLst>
                  <a:ext uri="{FF2B5EF4-FFF2-40B4-BE49-F238E27FC236}">
                    <a16:creationId xmlns:a16="http://schemas.microsoft.com/office/drawing/2014/main" id="{3DE8E231-08CB-4544-806D-A86D1DCC702D}"/>
                  </a:ext>
                </a:extLst>
              </p:cNvPr>
              <p:cNvSpPr>
                <a:spLocks noChangeArrowheads="1"/>
              </p:cNvSpPr>
              <p:nvPr/>
            </p:nvSpPr>
            <p:spPr bwMode="auto">
              <a:xfrm>
                <a:off x="284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59" name="Rectangle 632">
                <a:extLst>
                  <a:ext uri="{FF2B5EF4-FFF2-40B4-BE49-F238E27FC236}">
                    <a16:creationId xmlns:a16="http://schemas.microsoft.com/office/drawing/2014/main" id="{212E6C05-7C0B-4687-8D21-E672C0D8A941}"/>
                  </a:ext>
                </a:extLst>
              </p:cNvPr>
              <p:cNvSpPr>
                <a:spLocks noChangeArrowheads="1"/>
              </p:cNvSpPr>
              <p:nvPr/>
            </p:nvSpPr>
            <p:spPr bwMode="auto">
              <a:xfrm>
                <a:off x="2958"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0" name="Rectangle 633">
                <a:extLst>
                  <a:ext uri="{FF2B5EF4-FFF2-40B4-BE49-F238E27FC236}">
                    <a16:creationId xmlns:a16="http://schemas.microsoft.com/office/drawing/2014/main" id="{DEB87333-6889-48CA-9CA9-C8A0CF337FC8}"/>
                  </a:ext>
                </a:extLst>
              </p:cNvPr>
              <p:cNvSpPr>
                <a:spLocks noChangeArrowheads="1"/>
              </p:cNvSpPr>
              <p:nvPr/>
            </p:nvSpPr>
            <p:spPr bwMode="auto">
              <a:xfrm>
                <a:off x="3018"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1" name="Rectangle 634">
                <a:extLst>
                  <a:ext uri="{FF2B5EF4-FFF2-40B4-BE49-F238E27FC236}">
                    <a16:creationId xmlns:a16="http://schemas.microsoft.com/office/drawing/2014/main" id="{DC3BA18B-40A9-4094-85BA-62B6692E9CEC}"/>
                  </a:ext>
                </a:extLst>
              </p:cNvPr>
              <p:cNvSpPr>
                <a:spLocks noChangeArrowheads="1"/>
              </p:cNvSpPr>
              <p:nvPr/>
            </p:nvSpPr>
            <p:spPr bwMode="auto">
              <a:xfrm>
                <a:off x="3164"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2" name="Rectangle 635">
                <a:extLst>
                  <a:ext uri="{FF2B5EF4-FFF2-40B4-BE49-F238E27FC236}">
                    <a16:creationId xmlns:a16="http://schemas.microsoft.com/office/drawing/2014/main" id="{8CDE98E4-BACE-441A-A40A-E3C5891BB1D6}"/>
                  </a:ext>
                </a:extLst>
              </p:cNvPr>
              <p:cNvSpPr>
                <a:spLocks noChangeArrowheads="1"/>
              </p:cNvSpPr>
              <p:nvPr/>
            </p:nvSpPr>
            <p:spPr bwMode="auto">
              <a:xfrm>
                <a:off x="3223" y="1664"/>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3" name="Rectangle 636">
                <a:extLst>
                  <a:ext uri="{FF2B5EF4-FFF2-40B4-BE49-F238E27FC236}">
                    <a16:creationId xmlns:a16="http://schemas.microsoft.com/office/drawing/2014/main" id="{79BF1A3B-0D60-4438-9E2D-BA9405601B42}"/>
                  </a:ext>
                </a:extLst>
              </p:cNvPr>
              <p:cNvSpPr>
                <a:spLocks noChangeArrowheads="1"/>
              </p:cNvSpPr>
              <p:nvPr/>
            </p:nvSpPr>
            <p:spPr bwMode="auto">
              <a:xfrm>
                <a:off x="3280"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4" name="Rectangle 637">
                <a:extLst>
                  <a:ext uri="{FF2B5EF4-FFF2-40B4-BE49-F238E27FC236}">
                    <a16:creationId xmlns:a16="http://schemas.microsoft.com/office/drawing/2014/main" id="{B4051282-3F41-4A9D-B8D3-B55FD44F7671}"/>
                  </a:ext>
                </a:extLst>
              </p:cNvPr>
              <p:cNvSpPr>
                <a:spLocks noChangeArrowheads="1"/>
              </p:cNvSpPr>
              <p:nvPr/>
            </p:nvSpPr>
            <p:spPr bwMode="auto">
              <a:xfrm>
                <a:off x="3339" y="1664"/>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5" name="Rectangle 638">
                <a:extLst>
                  <a:ext uri="{FF2B5EF4-FFF2-40B4-BE49-F238E27FC236}">
                    <a16:creationId xmlns:a16="http://schemas.microsoft.com/office/drawing/2014/main" id="{3B7FA0A9-BB93-41A7-B672-7A23ADEC4366}"/>
                  </a:ext>
                </a:extLst>
              </p:cNvPr>
              <p:cNvSpPr>
                <a:spLocks noChangeArrowheads="1"/>
              </p:cNvSpPr>
              <p:nvPr/>
            </p:nvSpPr>
            <p:spPr bwMode="auto">
              <a:xfrm>
                <a:off x="2198"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6" name="Rectangle 639">
                <a:extLst>
                  <a:ext uri="{FF2B5EF4-FFF2-40B4-BE49-F238E27FC236}">
                    <a16:creationId xmlns:a16="http://schemas.microsoft.com/office/drawing/2014/main" id="{6FEC1234-6AB6-460A-87DB-312C06AD1AE8}"/>
                  </a:ext>
                </a:extLst>
              </p:cNvPr>
              <p:cNvSpPr>
                <a:spLocks noChangeArrowheads="1"/>
              </p:cNvSpPr>
              <p:nvPr/>
            </p:nvSpPr>
            <p:spPr bwMode="auto">
              <a:xfrm>
                <a:off x="2257"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7" name="Rectangle 640">
                <a:extLst>
                  <a:ext uri="{FF2B5EF4-FFF2-40B4-BE49-F238E27FC236}">
                    <a16:creationId xmlns:a16="http://schemas.microsoft.com/office/drawing/2014/main" id="{B6146780-8113-40B4-9686-58D2038490E4}"/>
                  </a:ext>
                </a:extLst>
              </p:cNvPr>
              <p:cNvSpPr>
                <a:spLocks noChangeArrowheads="1"/>
              </p:cNvSpPr>
              <p:nvPr/>
            </p:nvSpPr>
            <p:spPr bwMode="auto">
              <a:xfrm>
                <a:off x="2285"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8" name="Rectangle 641">
                <a:extLst>
                  <a:ext uri="{FF2B5EF4-FFF2-40B4-BE49-F238E27FC236}">
                    <a16:creationId xmlns:a16="http://schemas.microsoft.com/office/drawing/2014/main" id="{29AB3450-CFBB-498C-BF9B-8AEE6A15600F}"/>
                  </a:ext>
                </a:extLst>
              </p:cNvPr>
              <p:cNvSpPr>
                <a:spLocks noChangeArrowheads="1"/>
              </p:cNvSpPr>
              <p:nvPr/>
            </p:nvSpPr>
            <p:spPr bwMode="auto">
              <a:xfrm>
                <a:off x="2316"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69" name="Rectangle 642">
                <a:extLst>
                  <a:ext uri="{FF2B5EF4-FFF2-40B4-BE49-F238E27FC236}">
                    <a16:creationId xmlns:a16="http://schemas.microsoft.com/office/drawing/2014/main" id="{B8ABA1E4-F813-4985-8D4B-82B55933C1FE}"/>
                  </a:ext>
                </a:extLst>
              </p:cNvPr>
              <p:cNvSpPr>
                <a:spLocks noChangeArrowheads="1"/>
              </p:cNvSpPr>
              <p:nvPr/>
            </p:nvSpPr>
            <p:spPr bwMode="auto">
              <a:xfrm>
                <a:off x="2344"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0" name="Rectangle 643">
                <a:extLst>
                  <a:ext uri="{FF2B5EF4-FFF2-40B4-BE49-F238E27FC236}">
                    <a16:creationId xmlns:a16="http://schemas.microsoft.com/office/drawing/2014/main" id="{BE66963B-5435-4BC5-90AA-F6B6C3F141C1}"/>
                  </a:ext>
                </a:extLst>
              </p:cNvPr>
              <p:cNvSpPr>
                <a:spLocks noChangeArrowheads="1"/>
              </p:cNvSpPr>
              <p:nvPr/>
            </p:nvSpPr>
            <p:spPr bwMode="auto">
              <a:xfrm>
                <a:off x="2372"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1" name="Rectangle 644">
                <a:extLst>
                  <a:ext uri="{FF2B5EF4-FFF2-40B4-BE49-F238E27FC236}">
                    <a16:creationId xmlns:a16="http://schemas.microsoft.com/office/drawing/2014/main" id="{85326BB1-7DA0-4F65-821F-6463DA4A4FFC}"/>
                  </a:ext>
                </a:extLst>
              </p:cNvPr>
              <p:cNvSpPr>
                <a:spLocks noChangeArrowheads="1"/>
              </p:cNvSpPr>
              <p:nvPr/>
            </p:nvSpPr>
            <p:spPr bwMode="auto">
              <a:xfrm>
                <a:off x="2431"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2" name="Rectangle 645">
                <a:extLst>
                  <a:ext uri="{FF2B5EF4-FFF2-40B4-BE49-F238E27FC236}">
                    <a16:creationId xmlns:a16="http://schemas.microsoft.com/office/drawing/2014/main" id="{E600DB2E-287D-435B-8851-81FCFC64C975}"/>
                  </a:ext>
                </a:extLst>
              </p:cNvPr>
              <p:cNvSpPr>
                <a:spLocks noChangeArrowheads="1"/>
              </p:cNvSpPr>
              <p:nvPr/>
            </p:nvSpPr>
            <p:spPr bwMode="auto">
              <a:xfrm>
                <a:off x="2462"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3" name="Rectangle 646">
                <a:extLst>
                  <a:ext uri="{FF2B5EF4-FFF2-40B4-BE49-F238E27FC236}">
                    <a16:creationId xmlns:a16="http://schemas.microsoft.com/office/drawing/2014/main" id="{D66B143D-101F-4B78-A703-B0ADFE92B7A6}"/>
                  </a:ext>
                </a:extLst>
              </p:cNvPr>
              <p:cNvSpPr>
                <a:spLocks noChangeArrowheads="1"/>
              </p:cNvSpPr>
              <p:nvPr/>
            </p:nvSpPr>
            <p:spPr bwMode="auto">
              <a:xfrm>
                <a:off x="2519"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4" name="Rectangle 647">
                <a:extLst>
                  <a:ext uri="{FF2B5EF4-FFF2-40B4-BE49-F238E27FC236}">
                    <a16:creationId xmlns:a16="http://schemas.microsoft.com/office/drawing/2014/main" id="{CF581674-BA0F-4788-A697-5A2E9ED986E6}"/>
                  </a:ext>
                </a:extLst>
              </p:cNvPr>
              <p:cNvSpPr>
                <a:spLocks noChangeArrowheads="1"/>
              </p:cNvSpPr>
              <p:nvPr/>
            </p:nvSpPr>
            <p:spPr bwMode="auto">
              <a:xfrm>
                <a:off x="2550"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5" name="Rectangle 648">
                <a:extLst>
                  <a:ext uri="{FF2B5EF4-FFF2-40B4-BE49-F238E27FC236}">
                    <a16:creationId xmlns:a16="http://schemas.microsoft.com/office/drawing/2014/main" id="{E75BE63D-482B-4147-97F0-6E2114D0D8D1}"/>
                  </a:ext>
                </a:extLst>
              </p:cNvPr>
              <p:cNvSpPr>
                <a:spLocks noChangeArrowheads="1"/>
              </p:cNvSpPr>
              <p:nvPr/>
            </p:nvSpPr>
            <p:spPr bwMode="auto">
              <a:xfrm>
                <a:off x="2606"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6" name="Rectangle 649">
                <a:extLst>
                  <a:ext uri="{FF2B5EF4-FFF2-40B4-BE49-F238E27FC236}">
                    <a16:creationId xmlns:a16="http://schemas.microsoft.com/office/drawing/2014/main" id="{63E0FF6E-507A-4A11-8459-D4FB45E3D094}"/>
                  </a:ext>
                </a:extLst>
              </p:cNvPr>
              <p:cNvSpPr>
                <a:spLocks noChangeArrowheads="1"/>
              </p:cNvSpPr>
              <p:nvPr/>
            </p:nvSpPr>
            <p:spPr bwMode="auto">
              <a:xfrm>
                <a:off x="2696"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7" name="Rectangle 650">
                <a:extLst>
                  <a:ext uri="{FF2B5EF4-FFF2-40B4-BE49-F238E27FC236}">
                    <a16:creationId xmlns:a16="http://schemas.microsoft.com/office/drawing/2014/main" id="{FB5672AD-FD16-4CD5-920D-B58E0B2AD355}"/>
                  </a:ext>
                </a:extLst>
              </p:cNvPr>
              <p:cNvSpPr>
                <a:spLocks noChangeArrowheads="1"/>
              </p:cNvSpPr>
              <p:nvPr/>
            </p:nvSpPr>
            <p:spPr bwMode="auto">
              <a:xfrm>
                <a:off x="2725"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8" name="Rectangle 651">
                <a:extLst>
                  <a:ext uri="{FF2B5EF4-FFF2-40B4-BE49-F238E27FC236}">
                    <a16:creationId xmlns:a16="http://schemas.microsoft.com/office/drawing/2014/main" id="{8F70CF27-667C-4191-8F77-7C93A4A598E5}"/>
                  </a:ext>
                </a:extLst>
              </p:cNvPr>
              <p:cNvSpPr>
                <a:spLocks noChangeArrowheads="1"/>
              </p:cNvSpPr>
              <p:nvPr/>
            </p:nvSpPr>
            <p:spPr bwMode="auto">
              <a:xfrm>
                <a:off x="2843"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79" name="Rectangle 652">
                <a:extLst>
                  <a:ext uri="{FF2B5EF4-FFF2-40B4-BE49-F238E27FC236}">
                    <a16:creationId xmlns:a16="http://schemas.microsoft.com/office/drawing/2014/main" id="{19E68F51-5FEB-49E4-810B-DA90F141DACC}"/>
                  </a:ext>
                </a:extLst>
              </p:cNvPr>
              <p:cNvSpPr>
                <a:spLocks noChangeArrowheads="1"/>
              </p:cNvSpPr>
              <p:nvPr/>
            </p:nvSpPr>
            <p:spPr bwMode="auto">
              <a:xfrm>
                <a:off x="2871"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0" name="Rectangle 653">
                <a:extLst>
                  <a:ext uri="{FF2B5EF4-FFF2-40B4-BE49-F238E27FC236}">
                    <a16:creationId xmlns:a16="http://schemas.microsoft.com/office/drawing/2014/main" id="{5D32C503-4B90-4042-87F3-6AF6509C634C}"/>
                  </a:ext>
                </a:extLst>
              </p:cNvPr>
              <p:cNvSpPr>
                <a:spLocks noChangeArrowheads="1"/>
              </p:cNvSpPr>
              <p:nvPr/>
            </p:nvSpPr>
            <p:spPr bwMode="auto">
              <a:xfrm>
                <a:off x="2930"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1" name="Rectangle 654">
                <a:extLst>
                  <a:ext uri="{FF2B5EF4-FFF2-40B4-BE49-F238E27FC236}">
                    <a16:creationId xmlns:a16="http://schemas.microsoft.com/office/drawing/2014/main" id="{F33DA1E5-E152-4567-A1E8-9060C03723BD}"/>
                  </a:ext>
                </a:extLst>
              </p:cNvPr>
              <p:cNvSpPr>
                <a:spLocks noChangeArrowheads="1"/>
              </p:cNvSpPr>
              <p:nvPr/>
            </p:nvSpPr>
            <p:spPr bwMode="auto">
              <a:xfrm>
                <a:off x="2958"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2" name="Rectangle 655">
                <a:extLst>
                  <a:ext uri="{FF2B5EF4-FFF2-40B4-BE49-F238E27FC236}">
                    <a16:creationId xmlns:a16="http://schemas.microsoft.com/office/drawing/2014/main" id="{E9EE8DF8-1939-4732-8E70-19C8F424081B}"/>
                  </a:ext>
                </a:extLst>
              </p:cNvPr>
              <p:cNvSpPr>
                <a:spLocks noChangeArrowheads="1"/>
              </p:cNvSpPr>
              <p:nvPr/>
            </p:nvSpPr>
            <p:spPr bwMode="auto">
              <a:xfrm>
                <a:off x="3018"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3" name="Rectangle 656">
                <a:extLst>
                  <a:ext uri="{FF2B5EF4-FFF2-40B4-BE49-F238E27FC236}">
                    <a16:creationId xmlns:a16="http://schemas.microsoft.com/office/drawing/2014/main" id="{3E27C387-31C2-4FEA-91FD-745C5EA23716}"/>
                  </a:ext>
                </a:extLst>
              </p:cNvPr>
              <p:cNvSpPr>
                <a:spLocks noChangeArrowheads="1"/>
              </p:cNvSpPr>
              <p:nvPr/>
            </p:nvSpPr>
            <p:spPr bwMode="auto">
              <a:xfrm>
                <a:off x="3046"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 name="Rectangle 657">
                <a:extLst>
                  <a:ext uri="{FF2B5EF4-FFF2-40B4-BE49-F238E27FC236}">
                    <a16:creationId xmlns:a16="http://schemas.microsoft.com/office/drawing/2014/main" id="{ADEF4E16-D052-4040-813E-C7CC7615A28D}"/>
                  </a:ext>
                </a:extLst>
              </p:cNvPr>
              <p:cNvSpPr>
                <a:spLocks noChangeArrowheads="1"/>
              </p:cNvSpPr>
              <p:nvPr/>
            </p:nvSpPr>
            <p:spPr bwMode="auto">
              <a:xfrm>
                <a:off x="3133"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 name="Rectangle 658">
                <a:extLst>
                  <a:ext uri="{FF2B5EF4-FFF2-40B4-BE49-F238E27FC236}">
                    <a16:creationId xmlns:a16="http://schemas.microsoft.com/office/drawing/2014/main" id="{98EF2E9A-13DD-4471-912F-5F04A1549E1D}"/>
                  </a:ext>
                </a:extLst>
              </p:cNvPr>
              <p:cNvSpPr>
                <a:spLocks noChangeArrowheads="1"/>
              </p:cNvSpPr>
              <p:nvPr/>
            </p:nvSpPr>
            <p:spPr bwMode="auto">
              <a:xfrm>
                <a:off x="3164"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 name="Rectangle 659">
                <a:extLst>
                  <a:ext uri="{FF2B5EF4-FFF2-40B4-BE49-F238E27FC236}">
                    <a16:creationId xmlns:a16="http://schemas.microsoft.com/office/drawing/2014/main" id="{B24DAFEE-3D6B-496E-8A5E-F818CA819E31}"/>
                  </a:ext>
                </a:extLst>
              </p:cNvPr>
              <p:cNvSpPr>
                <a:spLocks noChangeArrowheads="1"/>
              </p:cNvSpPr>
              <p:nvPr/>
            </p:nvSpPr>
            <p:spPr bwMode="auto">
              <a:xfrm>
                <a:off x="3192"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7" name="Rectangle 660">
                <a:extLst>
                  <a:ext uri="{FF2B5EF4-FFF2-40B4-BE49-F238E27FC236}">
                    <a16:creationId xmlns:a16="http://schemas.microsoft.com/office/drawing/2014/main" id="{2784EFEC-5E57-4AF7-B70C-6198D563C1C5}"/>
                  </a:ext>
                </a:extLst>
              </p:cNvPr>
              <p:cNvSpPr>
                <a:spLocks noChangeArrowheads="1"/>
              </p:cNvSpPr>
              <p:nvPr/>
            </p:nvSpPr>
            <p:spPr bwMode="auto">
              <a:xfrm>
                <a:off x="3223"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8" name="Rectangle 661">
                <a:extLst>
                  <a:ext uri="{FF2B5EF4-FFF2-40B4-BE49-F238E27FC236}">
                    <a16:creationId xmlns:a16="http://schemas.microsoft.com/office/drawing/2014/main" id="{EA4BBB25-F99E-4529-A09B-02A229BE3305}"/>
                  </a:ext>
                </a:extLst>
              </p:cNvPr>
              <p:cNvSpPr>
                <a:spLocks noChangeArrowheads="1"/>
              </p:cNvSpPr>
              <p:nvPr/>
            </p:nvSpPr>
            <p:spPr bwMode="auto">
              <a:xfrm>
                <a:off x="3251" y="1692"/>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9" name="Rectangle 662">
                <a:extLst>
                  <a:ext uri="{FF2B5EF4-FFF2-40B4-BE49-F238E27FC236}">
                    <a16:creationId xmlns:a16="http://schemas.microsoft.com/office/drawing/2014/main" id="{6FD49792-0B58-4B5B-9C82-0159E8C8F3B9}"/>
                  </a:ext>
                </a:extLst>
              </p:cNvPr>
              <p:cNvSpPr>
                <a:spLocks noChangeArrowheads="1"/>
              </p:cNvSpPr>
              <p:nvPr/>
            </p:nvSpPr>
            <p:spPr bwMode="auto">
              <a:xfrm>
                <a:off x="3280"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0" name="Rectangle 663">
                <a:extLst>
                  <a:ext uri="{FF2B5EF4-FFF2-40B4-BE49-F238E27FC236}">
                    <a16:creationId xmlns:a16="http://schemas.microsoft.com/office/drawing/2014/main" id="{5B92C7C5-0F65-4CE1-AB3F-260E3392CC5E}"/>
                  </a:ext>
                </a:extLst>
              </p:cNvPr>
              <p:cNvSpPr>
                <a:spLocks noChangeArrowheads="1"/>
              </p:cNvSpPr>
              <p:nvPr/>
            </p:nvSpPr>
            <p:spPr bwMode="auto">
              <a:xfrm>
                <a:off x="3311" y="1692"/>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1" name="Rectangle 664">
                <a:extLst>
                  <a:ext uri="{FF2B5EF4-FFF2-40B4-BE49-F238E27FC236}">
                    <a16:creationId xmlns:a16="http://schemas.microsoft.com/office/drawing/2014/main" id="{4FEB6CCC-9742-4FF5-9EEE-76A80725A2E0}"/>
                  </a:ext>
                </a:extLst>
              </p:cNvPr>
              <p:cNvSpPr>
                <a:spLocks noChangeArrowheads="1"/>
              </p:cNvSpPr>
              <p:nvPr/>
            </p:nvSpPr>
            <p:spPr bwMode="auto">
              <a:xfrm>
                <a:off x="3339" y="1692"/>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2" name="Rectangle 665">
                <a:extLst>
                  <a:ext uri="{FF2B5EF4-FFF2-40B4-BE49-F238E27FC236}">
                    <a16:creationId xmlns:a16="http://schemas.microsoft.com/office/drawing/2014/main" id="{4A52ECC4-7C4F-4914-AAE3-DC6D394FE519}"/>
                  </a:ext>
                </a:extLst>
              </p:cNvPr>
              <p:cNvSpPr>
                <a:spLocks noChangeArrowheads="1"/>
              </p:cNvSpPr>
              <p:nvPr/>
            </p:nvSpPr>
            <p:spPr bwMode="auto">
              <a:xfrm>
                <a:off x="2431"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3" name="Rectangle 666">
                <a:extLst>
                  <a:ext uri="{FF2B5EF4-FFF2-40B4-BE49-F238E27FC236}">
                    <a16:creationId xmlns:a16="http://schemas.microsoft.com/office/drawing/2014/main" id="{9E07E18C-4525-4B4E-AD16-33E15A405C20}"/>
                  </a:ext>
                </a:extLst>
              </p:cNvPr>
              <p:cNvSpPr>
                <a:spLocks noChangeArrowheads="1"/>
              </p:cNvSpPr>
              <p:nvPr/>
            </p:nvSpPr>
            <p:spPr bwMode="auto">
              <a:xfrm>
                <a:off x="2462"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4" name="Rectangle 667">
                <a:extLst>
                  <a:ext uri="{FF2B5EF4-FFF2-40B4-BE49-F238E27FC236}">
                    <a16:creationId xmlns:a16="http://schemas.microsoft.com/office/drawing/2014/main" id="{CC586D86-DCE9-4CF8-8427-FA0585AF4D9B}"/>
                  </a:ext>
                </a:extLst>
              </p:cNvPr>
              <p:cNvSpPr>
                <a:spLocks noChangeArrowheads="1"/>
              </p:cNvSpPr>
              <p:nvPr/>
            </p:nvSpPr>
            <p:spPr bwMode="auto">
              <a:xfrm>
                <a:off x="2519"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5" name="Rectangle 668">
                <a:extLst>
                  <a:ext uri="{FF2B5EF4-FFF2-40B4-BE49-F238E27FC236}">
                    <a16:creationId xmlns:a16="http://schemas.microsoft.com/office/drawing/2014/main" id="{07A84B37-05E0-4195-8F83-0B866E8E0FF9}"/>
                  </a:ext>
                </a:extLst>
              </p:cNvPr>
              <p:cNvSpPr>
                <a:spLocks noChangeArrowheads="1"/>
              </p:cNvSpPr>
              <p:nvPr/>
            </p:nvSpPr>
            <p:spPr bwMode="auto">
              <a:xfrm>
                <a:off x="2578" y="172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6" name="Rectangle 669">
                <a:extLst>
                  <a:ext uri="{FF2B5EF4-FFF2-40B4-BE49-F238E27FC236}">
                    <a16:creationId xmlns:a16="http://schemas.microsoft.com/office/drawing/2014/main" id="{839D9506-3B90-4D60-941D-C7BE2F8A6BA5}"/>
                  </a:ext>
                </a:extLst>
              </p:cNvPr>
              <p:cNvSpPr>
                <a:spLocks noChangeArrowheads="1"/>
              </p:cNvSpPr>
              <p:nvPr/>
            </p:nvSpPr>
            <p:spPr bwMode="auto">
              <a:xfrm>
                <a:off x="2637" y="1723"/>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7" name="Rectangle 670">
                <a:extLst>
                  <a:ext uri="{FF2B5EF4-FFF2-40B4-BE49-F238E27FC236}">
                    <a16:creationId xmlns:a16="http://schemas.microsoft.com/office/drawing/2014/main" id="{77B673AF-CA44-4D19-9DF3-B1A07544F94C}"/>
                  </a:ext>
                </a:extLst>
              </p:cNvPr>
              <p:cNvSpPr>
                <a:spLocks noChangeArrowheads="1"/>
              </p:cNvSpPr>
              <p:nvPr/>
            </p:nvSpPr>
            <p:spPr bwMode="auto">
              <a:xfrm>
                <a:off x="2696"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8" name="Rectangle 671">
                <a:extLst>
                  <a:ext uri="{FF2B5EF4-FFF2-40B4-BE49-F238E27FC236}">
                    <a16:creationId xmlns:a16="http://schemas.microsoft.com/office/drawing/2014/main" id="{CA65CBC6-5DFF-4387-972C-C6E9C261B7D6}"/>
                  </a:ext>
                </a:extLst>
              </p:cNvPr>
              <p:cNvSpPr>
                <a:spLocks noChangeArrowheads="1"/>
              </p:cNvSpPr>
              <p:nvPr/>
            </p:nvSpPr>
            <p:spPr bwMode="auto">
              <a:xfrm>
                <a:off x="2753"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99" name="Rectangle 672">
                <a:extLst>
                  <a:ext uri="{FF2B5EF4-FFF2-40B4-BE49-F238E27FC236}">
                    <a16:creationId xmlns:a16="http://schemas.microsoft.com/office/drawing/2014/main" id="{47BEF58D-46A3-4DC8-A685-2AD87FC4E4AF}"/>
                  </a:ext>
                </a:extLst>
              </p:cNvPr>
              <p:cNvSpPr>
                <a:spLocks noChangeArrowheads="1"/>
              </p:cNvSpPr>
              <p:nvPr/>
            </p:nvSpPr>
            <p:spPr bwMode="auto">
              <a:xfrm>
                <a:off x="2958"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0" name="Rectangle 673">
                <a:extLst>
                  <a:ext uri="{FF2B5EF4-FFF2-40B4-BE49-F238E27FC236}">
                    <a16:creationId xmlns:a16="http://schemas.microsoft.com/office/drawing/2014/main" id="{09C787CB-1C57-4E49-A30B-912CC232E0C6}"/>
                  </a:ext>
                </a:extLst>
              </p:cNvPr>
              <p:cNvSpPr>
                <a:spLocks noChangeArrowheads="1"/>
              </p:cNvSpPr>
              <p:nvPr/>
            </p:nvSpPr>
            <p:spPr bwMode="auto">
              <a:xfrm>
                <a:off x="2989"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1" name="Rectangle 674">
                <a:extLst>
                  <a:ext uri="{FF2B5EF4-FFF2-40B4-BE49-F238E27FC236}">
                    <a16:creationId xmlns:a16="http://schemas.microsoft.com/office/drawing/2014/main" id="{D4EB5BF5-AE1F-4CC3-919F-ED4A16A74E13}"/>
                  </a:ext>
                </a:extLst>
              </p:cNvPr>
              <p:cNvSpPr>
                <a:spLocks noChangeArrowheads="1"/>
              </p:cNvSpPr>
              <p:nvPr/>
            </p:nvSpPr>
            <p:spPr bwMode="auto">
              <a:xfrm>
                <a:off x="3133"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2" name="Rectangle 675">
                <a:extLst>
                  <a:ext uri="{FF2B5EF4-FFF2-40B4-BE49-F238E27FC236}">
                    <a16:creationId xmlns:a16="http://schemas.microsoft.com/office/drawing/2014/main" id="{C8C3232A-EBD1-4BCD-A9D0-AE7C73A19076}"/>
                  </a:ext>
                </a:extLst>
              </p:cNvPr>
              <p:cNvSpPr>
                <a:spLocks noChangeArrowheads="1"/>
              </p:cNvSpPr>
              <p:nvPr/>
            </p:nvSpPr>
            <p:spPr bwMode="auto">
              <a:xfrm>
                <a:off x="3251" y="1723"/>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3" name="Rectangle 676">
                <a:extLst>
                  <a:ext uri="{FF2B5EF4-FFF2-40B4-BE49-F238E27FC236}">
                    <a16:creationId xmlns:a16="http://schemas.microsoft.com/office/drawing/2014/main" id="{390F73C8-0ED8-40D7-B5E9-8C875AFBA541}"/>
                  </a:ext>
                </a:extLst>
              </p:cNvPr>
              <p:cNvSpPr>
                <a:spLocks noChangeArrowheads="1"/>
              </p:cNvSpPr>
              <p:nvPr/>
            </p:nvSpPr>
            <p:spPr bwMode="auto">
              <a:xfrm>
                <a:off x="3339" y="1723"/>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4" name="Rectangle 677">
                <a:extLst>
                  <a:ext uri="{FF2B5EF4-FFF2-40B4-BE49-F238E27FC236}">
                    <a16:creationId xmlns:a16="http://schemas.microsoft.com/office/drawing/2014/main" id="{E7656803-B6BA-45E9-ACFB-3868EFF6CDB8}"/>
                  </a:ext>
                </a:extLst>
              </p:cNvPr>
              <p:cNvSpPr>
                <a:spLocks noChangeArrowheads="1"/>
              </p:cNvSpPr>
              <p:nvPr/>
            </p:nvSpPr>
            <p:spPr bwMode="auto">
              <a:xfrm>
                <a:off x="2198"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5" name="Rectangle 678">
                <a:extLst>
                  <a:ext uri="{FF2B5EF4-FFF2-40B4-BE49-F238E27FC236}">
                    <a16:creationId xmlns:a16="http://schemas.microsoft.com/office/drawing/2014/main" id="{6A498A0F-2BE6-434F-A146-DF1E0AC682C0}"/>
                  </a:ext>
                </a:extLst>
              </p:cNvPr>
              <p:cNvSpPr>
                <a:spLocks noChangeArrowheads="1"/>
              </p:cNvSpPr>
              <p:nvPr/>
            </p:nvSpPr>
            <p:spPr bwMode="auto">
              <a:xfrm>
                <a:off x="2226"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6" name="Rectangle 679">
                <a:extLst>
                  <a:ext uri="{FF2B5EF4-FFF2-40B4-BE49-F238E27FC236}">
                    <a16:creationId xmlns:a16="http://schemas.microsoft.com/office/drawing/2014/main" id="{D95249C5-188C-4812-937B-6D9138EFB5D2}"/>
                  </a:ext>
                </a:extLst>
              </p:cNvPr>
              <p:cNvSpPr>
                <a:spLocks noChangeArrowheads="1"/>
              </p:cNvSpPr>
              <p:nvPr/>
            </p:nvSpPr>
            <p:spPr bwMode="auto">
              <a:xfrm>
                <a:off x="225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7" name="Rectangle 680">
                <a:extLst>
                  <a:ext uri="{FF2B5EF4-FFF2-40B4-BE49-F238E27FC236}">
                    <a16:creationId xmlns:a16="http://schemas.microsoft.com/office/drawing/2014/main" id="{D72091E9-951C-42D9-9534-6612466A0D59}"/>
                  </a:ext>
                </a:extLst>
              </p:cNvPr>
              <p:cNvSpPr>
                <a:spLocks noChangeArrowheads="1"/>
              </p:cNvSpPr>
              <p:nvPr/>
            </p:nvSpPr>
            <p:spPr bwMode="auto">
              <a:xfrm>
                <a:off x="2285"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8" name="Rectangle 681">
                <a:extLst>
                  <a:ext uri="{FF2B5EF4-FFF2-40B4-BE49-F238E27FC236}">
                    <a16:creationId xmlns:a16="http://schemas.microsoft.com/office/drawing/2014/main" id="{C6E9A722-2AFA-4680-B80B-3CDDAF9F8AB4}"/>
                  </a:ext>
                </a:extLst>
              </p:cNvPr>
              <p:cNvSpPr>
                <a:spLocks noChangeArrowheads="1"/>
              </p:cNvSpPr>
              <p:nvPr/>
            </p:nvSpPr>
            <p:spPr bwMode="auto">
              <a:xfrm>
                <a:off x="2316"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09" name="Rectangle 682">
                <a:extLst>
                  <a:ext uri="{FF2B5EF4-FFF2-40B4-BE49-F238E27FC236}">
                    <a16:creationId xmlns:a16="http://schemas.microsoft.com/office/drawing/2014/main" id="{312ADDF3-CDC7-400E-AC9E-F21C63A49107}"/>
                  </a:ext>
                </a:extLst>
              </p:cNvPr>
              <p:cNvSpPr>
                <a:spLocks noChangeArrowheads="1"/>
              </p:cNvSpPr>
              <p:nvPr/>
            </p:nvSpPr>
            <p:spPr bwMode="auto">
              <a:xfrm>
                <a:off x="2344"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0" name="Rectangle 683">
                <a:extLst>
                  <a:ext uri="{FF2B5EF4-FFF2-40B4-BE49-F238E27FC236}">
                    <a16:creationId xmlns:a16="http://schemas.microsoft.com/office/drawing/2014/main" id="{F48F6B1C-6AE9-4834-A346-7728A726CE5B}"/>
                  </a:ext>
                </a:extLst>
              </p:cNvPr>
              <p:cNvSpPr>
                <a:spLocks noChangeArrowheads="1"/>
              </p:cNvSpPr>
              <p:nvPr/>
            </p:nvSpPr>
            <p:spPr bwMode="auto">
              <a:xfrm>
                <a:off x="237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1" name="Rectangle 684">
                <a:extLst>
                  <a:ext uri="{FF2B5EF4-FFF2-40B4-BE49-F238E27FC236}">
                    <a16:creationId xmlns:a16="http://schemas.microsoft.com/office/drawing/2014/main" id="{49BA83B1-5C47-43FD-8BDA-54BA40B6D1F5}"/>
                  </a:ext>
                </a:extLst>
              </p:cNvPr>
              <p:cNvSpPr>
                <a:spLocks noChangeArrowheads="1"/>
              </p:cNvSpPr>
              <p:nvPr/>
            </p:nvSpPr>
            <p:spPr bwMode="auto">
              <a:xfrm>
                <a:off x="2431"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2" name="Rectangle 685">
                <a:extLst>
                  <a:ext uri="{FF2B5EF4-FFF2-40B4-BE49-F238E27FC236}">
                    <a16:creationId xmlns:a16="http://schemas.microsoft.com/office/drawing/2014/main" id="{04CABE00-D3C2-44FB-BDA9-40FB87020458}"/>
                  </a:ext>
                </a:extLst>
              </p:cNvPr>
              <p:cNvSpPr>
                <a:spLocks noChangeArrowheads="1"/>
              </p:cNvSpPr>
              <p:nvPr/>
            </p:nvSpPr>
            <p:spPr bwMode="auto">
              <a:xfrm>
                <a:off x="2491"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3" name="Rectangle 686">
                <a:extLst>
                  <a:ext uri="{FF2B5EF4-FFF2-40B4-BE49-F238E27FC236}">
                    <a16:creationId xmlns:a16="http://schemas.microsoft.com/office/drawing/2014/main" id="{D0FBEDF0-A3C3-4C24-9307-2C474C9FC4B8}"/>
                  </a:ext>
                </a:extLst>
              </p:cNvPr>
              <p:cNvSpPr>
                <a:spLocks noChangeArrowheads="1"/>
              </p:cNvSpPr>
              <p:nvPr/>
            </p:nvSpPr>
            <p:spPr bwMode="auto">
              <a:xfrm>
                <a:off x="2578"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4" name="Rectangle 687">
                <a:extLst>
                  <a:ext uri="{FF2B5EF4-FFF2-40B4-BE49-F238E27FC236}">
                    <a16:creationId xmlns:a16="http://schemas.microsoft.com/office/drawing/2014/main" id="{373D885C-10F3-40EA-9114-9FF2E0EEE4E8}"/>
                  </a:ext>
                </a:extLst>
              </p:cNvPr>
              <p:cNvSpPr>
                <a:spLocks noChangeArrowheads="1"/>
              </p:cNvSpPr>
              <p:nvPr/>
            </p:nvSpPr>
            <p:spPr bwMode="auto">
              <a:xfrm>
                <a:off x="2606"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5" name="Rectangle 688">
                <a:extLst>
                  <a:ext uri="{FF2B5EF4-FFF2-40B4-BE49-F238E27FC236}">
                    <a16:creationId xmlns:a16="http://schemas.microsoft.com/office/drawing/2014/main" id="{4E9EE174-8618-4E8B-BC6D-0FC4A690ABE9}"/>
                  </a:ext>
                </a:extLst>
              </p:cNvPr>
              <p:cNvSpPr>
                <a:spLocks noChangeArrowheads="1"/>
              </p:cNvSpPr>
              <p:nvPr/>
            </p:nvSpPr>
            <p:spPr bwMode="auto">
              <a:xfrm>
                <a:off x="263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6" name="Rectangle 689">
                <a:extLst>
                  <a:ext uri="{FF2B5EF4-FFF2-40B4-BE49-F238E27FC236}">
                    <a16:creationId xmlns:a16="http://schemas.microsoft.com/office/drawing/2014/main" id="{5E73E564-8148-4E2D-B849-17620D10D49E}"/>
                  </a:ext>
                </a:extLst>
              </p:cNvPr>
              <p:cNvSpPr>
                <a:spLocks noChangeArrowheads="1"/>
              </p:cNvSpPr>
              <p:nvPr/>
            </p:nvSpPr>
            <p:spPr bwMode="auto">
              <a:xfrm>
                <a:off x="2696"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7" name="Rectangle 690">
                <a:extLst>
                  <a:ext uri="{FF2B5EF4-FFF2-40B4-BE49-F238E27FC236}">
                    <a16:creationId xmlns:a16="http://schemas.microsoft.com/office/drawing/2014/main" id="{CCBBB65E-5250-48EE-A111-AC3EC08E0CFC}"/>
                  </a:ext>
                </a:extLst>
              </p:cNvPr>
              <p:cNvSpPr>
                <a:spLocks noChangeArrowheads="1"/>
              </p:cNvSpPr>
              <p:nvPr/>
            </p:nvSpPr>
            <p:spPr bwMode="auto">
              <a:xfrm>
                <a:off x="281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8" name="Rectangle 691">
                <a:extLst>
                  <a:ext uri="{FF2B5EF4-FFF2-40B4-BE49-F238E27FC236}">
                    <a16:creationId xmlns:a16="http://schemas.microsoft.com/office/drawing/2014/main" id="{5C233360-B097-45B9-AC06-0C0D76A8E740}"/>
                  </a:ext>
                </a:extLst>
              </p:cNvPr>
              <p:cNvSpPr>
                <a:spLocks noChangeArrowheads="1"/>
              </p:cNvSpPr>
              <p:nvPr/>
            </p:nvSpPr>
            <p:spPr bwMode="auto">
              <a:xfrm>
                <a:off x="2843"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19" name="Rectangle 692">
                <a:extLst>
                  <a:ext uri="{FF2B5EF4-FFF2-40B4-BE49-F238E27FC236}">
                    <a16:creationId xmlns:a16="http://schemas.microsoft.com/office/drawing/2014/main" id="{DBE488DF-BEFE-4853-B14A-70BB852D9223}"/>
                  </a:ext>
                </a:extLst>
              </p:cNvPr>
              <p:cNvSpPr>
                <a:spLocks noChangeArrowheads="1"/>
              </p:cNvSpPr>
              <p:nvPr/>
            </p:nvSpPr>
            <p:spPr bwMode="auto">
              <a:xfrm>
                <a:off x="2899"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0" name="Rectangle 693">
                <a:extLst>
                  <a:ext uri="{FF2B5EF4-FFF2-40B4-BE49-F238E27FC236}">
                    <a16:creationId xmlns:a16="http://schemas.microsoft.com/office/drawing/2014/main" id="{598EC0B9-9C41-42F6-8942-ECC489C8FDAA}"/>
                  </a:ext>
                </a:extLst>
              </p:cNvPr>
              <p:cNvSpPr>
                <a:spLocks noChangeArrowheads="1"/>
              </p:cNvSpPr>
              <p:nvPr/>
            </p:nvSpPr>
            <p:spPr bwMode="auto">
              <a:xfrm>
                <a:off x="2958"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1" name="Rectangle 694">
                <a:extLst>
                  <a:ext uri="{FF2B5EF4-FFF2-40B4-BE49-F238E27FC236}">
                    <a16:creationId xmlns:a16="http://schemas.microsoft.com/office/drawing/2014/main" id="{13C92073-0AC8-4235-B46E-A3563D2CC2D5}"/>
                  </a:ext>
                </a:extLst>
              </p:cNvPr>
              <p:cNvSpPr>
                <a:spLocks noChangeArrowheads="1"/>
              </p:cNvSpPr>
              <p:nvPr/>
            </p:nvSpPr>
            <p:spPr bwMode="auto">
              <a:xfrm>
                <a:off x="2989"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2" name="Rectangle 695">
                <a:extLst>
                  <a:ext uri="{FF2B5EF4-FFF2-40B4-BE49-F238E27FC236}">
                    <a16:creationId xmlns:a16="http://schemas.microsoft.com/office/drawing/2014/main" id="{D289E83F-8411-4A18-875D-8A1E8728EF7C}"/>
                  </a:ext>
                </a:extLst>
              </p:cNvPr>
              <p:cNvSpPr>
                <a:spLocks noChangeArrowheads="1"/>
              </p:cNvSpPr>
              <p:nvPr/>
            </p:nvSpPr>
            <p:spPr bwMode="auto">
              <a:xfrm>
                <a:off x="3077"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3" name="Rectangle 696">
                <a:extLst>
                  <a:ext uri="{FF2B5EF4-FFF2-40B4-BE49-F238E27FC236}">
                    <a16:creationId xmlns:a16="http://schemas.microsoft.com/office/drawing/2014/main" id="{50C204C3-657A-491E-B031-12368873FF32}"/>
                  </a:ext>
                </a:extLst>
              </p:cNvPr>
              <p:cNvSpPr>
                <a:spLocks noChangeArrowheads="1"/>
              </p:cNvSpPr>
              <p:nvPr/>
            </p:nvSpPr>
            <p:spPr bwMode="auto">
              <a:xfrm>
                <a:off x="3105"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4" name="Rectangle 697">
                <a:extLst>
                  <a:ext uri="{FF2B5EF4-FFF2-40B4-BE49-F238E27FC236}">
                    <a16:creationId xmlns:a16="http://schemas.microsoft.com/office/drawing/2014/main" id="{36CA7F34-19FD-42EE-A9B2-6E58193F698B}"/>
                  </a:ext>
                </a:extLst>
              </p:cNvPr>
              <p:cNvSpPr>
                <a:spLocks noChangeArrowheads="1"/>
              </p:cNvSpPr>
              <p:nvPr/>
            </p:nvSpPr>
            <p:spPr bwMode="auto">
              <a:xfrm>
                <a:off x="3133"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5" name="Rectangle 698">
                <a:extLst>
                  <a:ext uri="{FF2B5EF4-FFF2-40B4-BE49-F238E27FC236}">
                    <a16:creationId xmlns:a16="http://schemas.microsoft.com/office/drawing/2014/main" id="{DC75122A-C181-4982-8F94-80EF0E3C66B2}"/>
                  </a:ext>
                </a:extLst>
              </p:cNvPr>
              <p:cNvSpPr>
                <a:spLocks noChangeArrowheads="1"/>
              </p:cNvSpPr>
              <p:nvPr/>
            </p:nvSpPr>
            <p:spPr bwMode="auto">
              <a:xfrm>
                <a:off x="3192" y="1751"/>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6" name="Rectangle 699">
                <a:extLst>
                  <a:ext uri="{FF2B5EF4-FFF2-40B4-BE49-F238E27FC236}">
                    <a16:creationId xmlns:a16="http://schemas.microsoft.com/office/drawing/2014/main" id="{D26B4B44-9AB1-400C-A9BD-4D7E6DC58B4B}"/>
                  </a:ext>
                </a:extLst>
              </p:cNvPr>
              <p:cNvSpPr>
                <a:spLocks noChangeArrowheads="1"/>
              </p:cNvSpPr>
              <p:nvPr/>
            </p:nvSpPr>
            <p:spPr bwMode="auto">
              <a:xfrm>
                <a:off x="3251" y="1751"/>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7" name="Rectangle 700">
                <a:extLst>
                  <a:ext uri="{FF2B5EF4-FFF2-40B4-BE49-F238E27FC236}">
                    <a16:creationId xmlns:a16="http://schemas.microsoft.com/office/drawing/2014/main" id="{D91DCE16-80A8-43D0-8953-3E49E291D496}"/>
                  </a:ext>
                </a:extLst>
              </p:cNvPr>
              <p:cNvSpPr>
                <a:spLocks noChangeArrowheads="1"/>
              </p:cNvSpPr>
              <p:nvPr/>
            </p:nvSpPr>
            <p:spPr bwMode="auto">
              <a:xfrm>
                <a:off x="3311" y="1751"/>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8" name="Rectangle 701">
                <a:extLst>
                  <a:ext uri="{FF2B5EF4-FFF2-40B4-BE49-F238E27FC236}">
                    <a16:creationId xmlns:a16="http://schemas.microsoft.com/office/drawing/2014/main" id="{7E182A7B-4E3B-4E00-B7BF-4757C27952C8}"/>
                  </a:ext>
                </a:extLst>
              </p:cNvPr>
              <p:cNvSpPr>
                <a:spLocks noChangeArrowheads="1"/>
              </p:cNvSpPr>
              <p:nvPr/>
            </p:nvSpPr>
            <p:spPr bwMode="auto">
              <a:xfrm>
                <a:off x="2198"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29" name="Rectangle 702">
                <a:extLst>
                  <a:ext uri="{FF2B5EF4-FFF2-40B4-BE49-F238E27FC236}">
                    <a16:creationId xmlns:a16="http://schemas.microsoft.com/office/drawing/2014/main" id="{23EDAA67-25A1-4CB1-9D8D-098C444ADB90}"/>
                  </a:ext>
                </a:extLst>
              </p:cNvPr>
              <p:cNvSpPr>
                <a:spLocks noChangeArrowheads="1"/>
              </p:cNvSpPr>
              <p:nvPr/>
            </p:nvSpPr>
            <p:spPr bwMode="auto">
              <a:xfrm>
                <a:off x="2372"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0" name="Rectangle 703">
                <a:extLst>
                  <a:ext uri="{FF2B5EF4-FFF2-40B4-BE49-F238E27FC236}">
                    <a16:creationId xmlns:a16="http://schemas.microsoft.com/office/drawing/2014/main" id="{821A4E3E-0D42-4284-881B-FF5BF7DDE19A}"/>
                  </a:ext>
                </a:extLst>
              </p:cNvPr>
              <p:cNvSpPr>
                <a:spLocks noChangeArrowheads="1"/>
              </p:cNvSpPr>
              <p:nvPr/>
            </p:nvSpPr>
            <p:spPr bwMode="auto">
              <a:xfrm>
                <a:off x="2431"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1" name="Rectangle 704">
                <a:extLst>
                  <a:ext uri="{FF2B5EF4-FFF2-40B4-BE49-F238E27FC236}">
                    <a16:creationId xmlns:a16="http://schemas.microsoft.com/office/drawing/2014/main" id="{7FDA9EE2-1121-485B-A6F3-308A46B08596}"/>
                  </a:ext>
                </a:extLst>
              </p:cNvPr>
              <p:cNvSpPr>
                <a:spLocks noChangeArrowheads="1"/>
              </p:cNvSpPr>
              <p:nvPr/>
            </p:nvSpPr>
            <p:spPr bwMode="auto">
              <a:xfrm>
                <a:off x="2462"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2" name="Rectangle 705">
                <a:extLst>
                  <a:ext uri="{FF2B5EF4-FFF2-40B4-BE49-F238E27FC236}">
                    <a16:creationId xmlns:a16="http://schemas.microsoft.com/office/drawing/2014/main" id="{CE21521A-C2B6-4E7E-914D-7266C1CAB072}"/>
                  </a:ext>
                </a:extLst>
              </p:cNvPr>
              <p:cNvSpPr>
                <a:spLocks noChangeArrowheads="1"/>
              </p:cNvSpPr>
              <p:nvPr/>
            </p:nvSpPr>
            <p:spPr bwMode="auto">
              <a:xfrm>
                <a:off x="2578"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3" name="Rectangle 706">
                <a:extLst>
                  <a:ext uri="{FF2B5EF4-FFF2-40B4-BE49-F238E27FC236}">
                    <a16:creationId xmlns:a16="http://schemas.microsoft.com/office/drawing/2014/main" id="{25799BD5-48B6-4122-AB4B-C732B5E01C73}"/>
                  </a:ext>
                </a:extLst>
              </p:cNvPr>
              <p:cNvSpPr>
                <a:spLocks noChangeArrowheads="1"/>
              </p:cNvSpPr>
              <p:nvPr/>
            </p:nvSpPr>
            <p:spPr bwMode="auto">
              <a:xfrm>
                <a:off x="2637"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4" name="Rectangle 707">
                <a:extLst>
                  <a:ext uri="{FF2B5EF4-FFF2-40B4-BE49-F238E27FC236}">
                    <a16:creationId xmlns:a16="http://schemas.microsoft.com/office/drawing/2014/main" id="{15BBBDF2-F12F-4104-9548-336F407791AD}"/>
                  </a:ext>
                </a:extLst>
              </p:cNvPr>
              <p:cNvSpPr>
                <a:spLocks noChangeArrowheads="1"/>
              </p:cNvSpPr>
              <p:nvPr/>
            </p:nvSpPr>
            <p:spPr bwMode="auto">
              <a:xfrm>
                <a:off x="2665"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5" name="Rectangle 708">
                <a:extLst>
                  <a:ext uri="{FF2B5EF4-FFF2-40B4-BE49-F238E27FC236}">
                    <a16:creationId xmlns:a16="http://schemas.microsoft.com/office/drawing/2014/main" id="{710725BD-DD5C-4328-9629-26D9AEAC4974}"/>
                  </a:ext>
                </a:extLst>
              </p:cNvPr>
              <p:cNvSpPr>
                <a:spLocks noChangeArrowheads="1"/>
              </p:cNvSpPr>
              <p:nvPr/>
            </p:nvSpPr>
            <p:spPr bwMode="auto">
              <a:xfrm>
                <a:off x="2696"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6" name="Rectangle 709">
                <a:extLst>
                  <a:ext uri="{FF2B5EF4-FFF2-40B4-BE49-F238E27FC236}">
                    <a16:creationId xmlns:a16="http://schemas.microsoft.com/office/drawing/2014/main" id="{BA884F94-552A-4FBE-B3B9-A08C59527424}"/>
                  </a:ext>
                </a:extLst>
              </p:cNvPr>
              <p:cNvSpPr>
                <a:spLocks noChangeArrowheads="1"/>
              </p:cNvSpPr>
              <p:nvPr/>
            </p:nvSpPr>
            <p:spPr bwMode="auto">
              <a:xfrm>
                <a:off x="2725"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7" name="Rectangle 710">
                <a:extLst>
                  <a:ext uri="{FF2B5EF4-FFF2-40B4-BE49-F238E27FC236}">
                    <a16:creationId xmlns:a16="http://schemas.microsoft.com/office/drawing/2014/main" id="{8A8D0927-B08D-4770-9DEA-33DDC3603A52}"/>
                  </a:ext>
                </a:extLst>
              </p:cNvPr>
              <p:cNvSpPr>
                <a:spLocks noChangeArrowheads="1"/>
              </p:cNvSpPr>
              <p:nvPr/>
            </p:nvSpPr>
            <p:spPr bwMode="auto">
              <a:xfrm>
                <a:off x="2784"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8" name="Rectangle 711">
                <a:extLst>
                  <a:ext uri="{FF2B5EF4-FFF2-40B4-BE49-F238E27FC236}">
                    <a16:creationId xmlns:a16="http://schemas.microsoft.com/office/drawing/2014/main" id="{E8634CCF-5966-4ED8-B322-EEECD847051C}"/>
                  </a:ext>
                </a:extLst>
              </p:cNvPr>
              <p:cNvSpPr>
                <a:spLocks noChangeArrowheads="1"/>
              </p:cNvSpPr>
              <p:nvPr/>
            </p:nvSpPr>
            <p:spPr bwMode="auto">
              <a:xfrm>
                <a:off x="2871"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39" name="Rectangle 712">
                <a:extLst>
                  <a:ext uri="{FF2B5EF4-FFF2-40B4-BE49-F238E27FC236}">
                    <a16:creationId xmlns:a16="http://schemas.microsoft.com/office/drawing/2014/main" id="{E54CFA17-7FC2-4085-9872-6FF372DFD66F}"/>
                  </a:ext>
                </a:extLst>
              </p:cNvPr>
              <p:cNvSpPr>
                <a:spLocks noChangeArrowheads="1"/>
              </p:cNvSpPr>
              <p:nvPr/>
            </p:nvSpPr>
            <p:spPr bwMode="auto">
              <a:xfrm>
                <a:off x="2958"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0" name="Rectangle 713">
                <a:extLst>
                  <a:ext uri="{FF2B5EF4-FFF2-40B4-BE49-F238E27FC236}">
                    <a16:creationId xmlns:a16="http://schemas.microsoft.com/office/drawing/2014/main" id="{75D8CAC7-BA23-4DF9-9DE8-CC7139F1DAF3}"/>
                  </a:ext>
                </a:extLst>
              </p:cNvPr>
              <p:cNvSpPr>
                <a:spLocks noChangeArrowheads="1"/>
              </p:cNvSpPr>
              <p:nvPr/>
            </p:nvSpPr>
            <p:spPr bwMode="auto">
              <a:xfrm>
                <a:off x="2989"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1" name="Rectangle 714">
                <a:extLst>
                  <a:ext uri="{FF2B5EF4-FFF2-40B4-BE49-F238E27FC236}">
                    <a16:creationId xmlns:a16="http://schemas.microsoft.com/office/drawing/2014/main" id="{D91AE22A-6AE1-43AA-8D92-66D06232DB9F}"/>
                  </a:ext>
                </a:extLst>
              </p:cNvPr>
              <p:cNvSpPr>
                <a:spLocks noChangeArrowheads="1"/>
              </p:cNvSpPr>
              <p:nvPr/>
            </p:nvSpPr>
            <p:spPr bwMode="auto">
              <a:xfrm>
                <a:off x="3105" y="1782"/>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2" name="Rectangle 715">
                <a:extLst>
                  <a:ext uri="{FF2B5EF4-FFF2-40B4-BE49-F238E27FC236}">
                    <a16:creationId xmlns:a16="http://schemas.microsoft.com/office/drawing/2014/main" id="{23652BCD-1D94-42A7-9838-40933D6CB443}"/>
                  </a:ext>
                </a:extLst>
              </p:cNvPr>
              <p:cNvSpPr>
                <a:spLocks noChangeArrowheads="1"/>
              </p:cNvSpPr>
              <p:nvPr/>
            </p:nvSpPr>
            <p:spPr bwMode="auto">
              <a:xfrm>
                <a:off x="3133"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3" name="Rectangle 716">
                <a:extLst>
                  <a:ext uri="{FF2B5EF4-FFF2-40B4-BE49-F238E27FC236}">
                    <a16:creationId xmlns:a16="http://schemas.microsoft.com/office/drawing/2014/main" id="{8DEB8A21-D6E9-466C-9F39-5E84843EABA1}"/>
                  </a:ext>
                </a:extLst>
              </p:cNvPr>
              <p:cNvSpPr>
                <a:spLocks noChangeArrowheads="1"/>
              </p:cNvSpPr>
              <p:nvPr/>
            </p:nvSpPr>
            <p:spPr bwMode="auto">
              <a:xfrm>
                <a:off x="3251" y="1782"/>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4" name="Rectangle 717">
                <a:extLst>
                  <a:ext uri="{FF2B5EF4-FFF2-40B4-BE49-F238E27FC236}">
                    <a16:creationId xmlns:a16="http://schemas.microsoft.com/office/drawing/2014/main" id="{BBBE5B93-DA2D-43FD-8673-1285C9311B43}"/>
                  </a:ext>
                </a:extLst>
              </p:cNvPr>
              <p:cNvSpPr>
                <a:spLocks noChangeArrowheads="1"/>
              </p:cNvSpPr>
              <p:nvPr/>
            </p:nvSpPr>
            <p:spPr bwMode="auto">
              <a:xfrm>
                <a:off x="3339" y="1782"/>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5" name="Rectangle 718">
                <a:extLst>
                  <a:ext uri="{FF2B5EF4-FFF2-40B4-BE49-F238E27FC236}">
                    <a16:creationId xmlns:a16="http://schemas.microsoft.com/office/drawing/2014/main" id="{DBA5EDEC-4BC8-4808-BF44-7367E1344EA4}"/>
                  </a:ext>
                </a:extLst>
              </p:cNvPr>
              <p:cNvSpPr>
                <a:spLocks noChangeArrowheads="1"/>
              </p:cNvSpPr>
              <p:nvPr/>
            </p:nvSpPr>
            <p:spPr bwMode="auto">
              <a:xfrm>
                <a:off x="219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6" name="Rectangle 719">
                <a:extLst>
                  <a:ext uri="{FF2B5EF4-FFF2-40B4-BE49-F238E27FC236}">
                    <a16:creationId xmlns:a16="http://schemas.microsoft.com/office/drawing/2014/main" id="{E94E7B42-E1E8-46D4-B830-5D924C49BC54}"/>
                  </a:ext>
                </a:extLst>
              </p:cNvPr>
              <p:cNvSpPr>
                <a:spLocks noChangeArrowheads="1"/>
              </p:cNvSpPr>
              <p:nvPr/>
            </p:nvSpPr>
            <p:spPr bwMode="auto">
              <a:xfrm>
                <a:off x="2257"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7" name="Rectangle 720">
                <a:extLst>
                  <a:ext uri="{FF2B5EF4-FFF2-40B4-BE49-F238E27FC236}">
                    <a16:creationId xmlns:a16="http://schemas.microsoft.com/office/drawing/2014/main" id="{24CF7629-AC52-4464-BE4A-44327F453C70}"/>
                  </a:ext>
                </a:extLst>
              </p:cNvPr>
              <p:cNvSpPr>
                <a:spLocks noChangeArrowheads="1"/>
              </p:cNvSpPr>
              <p:nvPr/>
            </p:nvSpPr>
            <p:spPr bwMode="auto">
              <a:xfrm>
                <a:off x="2285"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8" name="Rectangle 721">
                <a:extLst>
                  <a:ext uri="{FF2B5EF4-FFF2-40B4-BE49-F238E27FC236}">
                    <a16:creationId xmlns:a16="http://schemas.microsoft.com/office/drawing/2014/main" id="{AF2B723F-0588-4D58-9CFD-3806FF91FE23}"/>
                  </a:ext>
                </a:extLst>
              </p:cNvPr>
              <p:cNvSpPr>
                <a:spLocks noChangeArrowheads="1"/>
              </p:cNvSpPr>
              <p:nvPr/>
            </p:nvSpPr>
            <p:spPr bwMode="auto">
              <a:xfrm>
                <a:off x="2316"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49" name="Rectangle 722">
                <a:extLst>
                  <a:ext uri="{FF2B5EF4-FFF2-40B4-BE49-F238E27FC236}">
                    <a16:creationId xmlns:a16="http://schemas.microsoft.com/office/drawing/2014/main" id="{3234CF94-C06E-403E-913F-BD99E6FCBB4B}"/>
                  </a:ext>
                </a:extLst>
              </p:cNvPr>
              <p:cNvSpPr>
                <a:spLocks noChangeArrowheads="1"/>
              </p:cNvSpPr>
              <p:nvPr/>
            </p:nvSpPr>
            <p:spPr bwMode="auto">
              <a:xfrm>
                <a:off x="2372"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0" name="Rectangle 723">
                <a:extLst>
                  <a:ext uri="{FF2B5EF4-FFF2-40B4-BE49-F238E27FC236}">
                    <a16:creationId xmlns:a16="http://schemas.microsoft.com/office/drawing/2014/main" id="{DC2E3B51-54E6-4F14-9530-1BB42750A341}"/>
                  </a:ext>
                </a:extLst>
              </p:cNvPr>
              <p:cNvSpPr>
                <a:spLocks noChangeArrowheads="1"/>
              </p:cNvSpPr>
              <p:nvPr/>
            </p:nvSpPr>
            <p:spPr bwMode="auto">
              <a:xfrm>
                <a:off x="2462"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1" name="Rectangle 724">
                <a:extLst>
                  <a:ext uri="{FF2B5EF4-FFF2-40B4-BE49-F238E27FC236}">
                    <a16:creationId xmlns:a16="http://schemas.microsoft.com/office/drawing/2014/main" id="{E695D96F-3E5A-4735-8A6C-C065B6002B62}"/>
                  </a:ext>
                </a:extLst>
              </p:cNvPr>
              <p:cNvSpPr>
                <a:spLocks noChangeArrowheads="1"/>
              </p:cNvSpPr>
              <p:nvPr/>
            </p:nvSpPr>
            <p:spPr bwMode="auto">
              <a:xfrm>
                <a:off x="257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2" name="Rectangle 725">
                <a:extLst>
                  <a:ext uri="{FF2B5EF4-FFF2-40B4-BE49-F238E27FC236}">
                    <a16:creationId xmlns:a16="http://schemas.microsoft.com/office/drawing/2014/main" id="{A871948B-641A-4CC3-AC21-598D5F3C90E6}"/>
                  </a:ext>
                </a:extLst>
              </p:cNvPr>
              <p:cNvSpPr>
                <a:spLocks noChangeArrowheads="1"/>
              </p:cNvSpPr>
              <p:nvPr/>
            </p:nvSpPr>
            <p:spPr bwMode="auto">
              <a:xfrm>
                <a:off x="2637"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3" name="Rectangle 726">
                <a:extLst>
                  <a:ext uri="{FF2B5EF4-FFF2-40B4-BE49-F238E27FC236}">
                    <a16:creationId xmlns:a16="http://schemas.microsoft.com/office/drawing/2014/main" id="{10C8478A-41C0-492D-B963-ADAC097F4F08}"/>
                  </a:ext>
                </a:extLst>
              </p:cNvPr>
              <p:cNvSpPr>
                <a:spLocks noChangeArrowheads="1"/>
              </p:cNvSpPr>
              <p:nvPr/>
            </p:nvSpPr>
            <p:spPr bwMode="auto">
              <a:xfrm>
                <a:off x="2696"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4" name="Rectangle 727">
                <a:extLst>
                  <a:ext uri="{FF2B5EF4-FFF2-40B4-BE49-F238E27FC236}">
                    <a16:creationId xmlns:a16="http://schemas.microsoft.com/office/drawing/2014/main" id="{AC5403A8-FC4B-4B83-ABB9-CBC0F32CD2CD}"/>
                  </a:ext>
                </a:extLst>
              </p:cNvPr>
              <p:cNvSpPr>
                <a:spLocks noChangeArrowheads="1"/>
              </p:cNvSpPr>
              <p:nvPr/>
            </p:nvSpPr>
            <p:spPr bwMode="auto">
              <a:xfrm>
                <a:off x="2753"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5" name="Rectangle 728">
                <a:extLst>
                  <a:ext uri="{FF2B5EF4-FFF2-40B4-BE49-F238E27FC236}">
                    <a16:creationId xmlns:a16="http://schemas.microsoft.com/office/drawing/2014/main" id="{5D1DB10B-9DCF-418B-A86B-A1AAE16B2937}"/>
                  </a:ext>
                </a:extLst>
              </p:cNvPr>
              <p:cNvSpPr>
                <a:spLocks noChangeArrowheads="1"/>
              </p:cNvSpPr>
              <p:nvPr/>
            </p:nvSpPr>
            <p:spPr bwMode="auto">
              <a:xfrm>
                <a:off x="2784"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6" name="Rectangle 729">
                <a:extLst>
                  <a:ext uri="{FF2B5EF4-FFF2-40B4-BE49-F238E27FC236}">
                    <a16:creationId xmlns:a16="http://schemas.microsoft.com/office/drawing/2014/main" id="{09A49FAD-4E22-4AAB-91C4-980E0245B2A4}"/>
                  </a:ext>
                </a:extLst>
              </p:cNvPr>
              <p:cNvSpPr>
                <a:spLocks noChangeArrowheads="1"/>
              </p:cNvSpPr>
              <p:nvPr/>
            </p:nvSpPr>
            <p:spPr bwMode="auto">
              <a:xfrm>
                <a:off x="2843"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7" name="Rectangle 730">
                <a:extLst>
                  <a:ext uri="{FF2B5EF4-FFF2-40B4-BE49-F238E27FC236}">
                    <a16:creationId xmlns:a16="http://schemas.microsoft.com/office/drawing/2014/main" id="{41347DF9-4C6D-4816-8D7A-FAF863BB1CD1}"/>
                  </a:ext>
                </a:extLst>
              </p:cNvPr>
              <p:cNvSpPr>
                <a:spLocks noChangeArrowheads="1"/>
              </p:cNvSpPr>
              <p:nvPr/>
            </p:nvSpPr>
            <p:spPr bwMode="auto">
              <a:xfrm>
                <a:off x="2899"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8" name="Rectangle 731">
                <a:extLst>
                  <a:ext uri="{FF2B5EF4-FFF2-40B4-BE49-F238E27FC236}">
                    <a16:creationId xmlns:a16="http://schemas.microsoft.com/office/drawing/2014/main" id="{2D1988FD-DEDC-45E4-AD2A-928526E4BE87}"/>
                  </a:ext>
                </a:extLst>
              </p:cNvPr>
              <p:cNvSpPr>
                <a:spLocks noChangeArrowheads="1"/>
              </p:cNvSpPr>
              <p:nvPr/>
            </p:nvSpPr>
            <p:spPr bwMode="auto">
              <a:xfrm>
                <a:off x="2989"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59" name="Rectangle 732">
                <a:extLst>
                  <a:ext uri="{FF2B5EF4-FFF2-40B4-BE49-F238E27FC236}">
                    <a16:creationId xmlns:a16="http://schemas.microsoft.com/office/drawing/2014/main" id="{43B20798-CAC7-4AEF-BD5E-C19FB27A8A59}"/>
                  </a:ext>
                </a:extLst>
              </p:cNvPr>
              <p:cNvSpPr>
                <a:spLocks noChangeArrowheads="1"/>
              </p:cNvSpPr>
              <p:nvPr/>
            </p:nvSpPr>
            <p:spPr bwMode="auto">
              <a:xfrm>
                <a:off x="3018"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0" name="Rectangle 733">
                <a:extLst>
                  <a:ext uri="{FF2B5EF4-FFF2-40B4-BE49-F238E27FC236}">
                    <a16:creationId xmlns:a16="http://schemas.microsoft.com/office/drawing/2014/main" id="{998C5658-F162-43B3-B046-F95578EC8201}"/>
                  </a:ext>
                </a:extLst>
              </p:cNvPr>
              <p:cNvSpPr>
                <a:spLocks noChangeArrowheads="1"/>
              </p:cNvSpPr>
              <p:nvPr/>
            </p:nvSpPr>
            <p:spPr bwMode="auto">
              <a:xfrm>
                <a:off x="3105"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1" name="Rectangle 734">
                <a:extLst>
                  <a:ext uri="{FF2B5EF4-FFF2-40B4-BE49-F238E27FC236}">
                    <a16:creationId xmlns:a16="http://schemas.microsoft.com/office/drawing/2014/main" id="{201C3998-7576-4E93-85CE-E67F3D9ADB9D}"/>
                  </a:ext>
                </a:extLst>
              </p:cNvPr>
              <p:cNvSpPr>
                <a:spLocks noChangeArrowheads="1"/>
              </p:cNvSpPr>
              <p:nvPr/>
            </p:nvSpPr>
            <p:spPr bwMode="auto">
              <a:xfrm>
                <a:off x="3133"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2" name="Rectangle 735">
                <a:extLst>
                  <a:ext uri="{FF2B5EF4-FFF2-40B4-BE49-F238E27FC236}">
                    <a16:creationId xmlns:a16="http://schemas.microsoft.com/office/drawing/2014/main" id="{026E8421-630B-441F-81D4-718498A24D55}"/>
                  </a:ext>
                </a:extLst>
              </p:cNvPr>
              <p:cNvSpPr>
                <a:spLocks noChangeArrowheads="1"/>
              </p:cNvSpPr>
              <p:nvPr/>
            </p:nvSpPr>
            <p:spPr bwMode="auto">
              <a:xfrm>
                <a:off x="3164"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3" name="Rectangle 736">
                <a:extLst>
                  <a:ext uri="{FF2B5EF4-FFF2-40B4-BE49-F238E27FC236}">
                    <a16:creationId xmlns:a16="http://schemas.microsoft.com/office/drawing/2014/main" id="{3D57BE6C-D436-4717-A701-2DFC718505E0}"/>
                  </a:ext>
                </a:extLst>
              </p:cNvPr>
              <p:cNvSpPr>
                <a:spLocks noChangeArrowheads="1"/>
              </p:cNvSpPr>
              <p:nvPr/>
            </p:nvSpPr>
            <p:spPr bwMode="auto">
              <a:xfrm>
                <a:off x="3192"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4" name="Rectangle 737">
                <a:extLst>
                  <a:ext uri="{FF2B5EF4-FFF2-40B4-BE49-F238E27FC236}">
                    <a16:creationId xmlns:a16="http://schemas.microsoft.com/office/drawing/2014/main" id="{2DD6A95F-26E9-4C72-A0C3-1B6492A09F2A}"/>
                  </a:ext>
                </a:extLst>
              </p:cNvPr>
              <p:cNvSpPr>
                <a:spLocks noChangeArrowheads="1"/>
              </p:cNvSpPr>
              <p:nvPr/>
            </p:nvSpPr>
            <p:spPr bwMode="auto">
              <a:xfrm>
                <a:off x="3223" y="1810"/>
                <a:ext cx="28"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5" name="Rectangle 738">
                <a:extLst>
                  <a:ext uri="{FF2B5EF4-FFF2-40B4-BE49-F238E27FC236}">
                    <a16:creationId xmlns:a16="http://schemas.microsoft.com/office/drawing/2014/main" id="{116EE6B5-8D37-4B95-AFEB-0CD934BAF54F}"/>
                  </a:ext>
                </a:extLst>
              </p:cNvPr>
              <p:cNvSpPr>
                <a:spLocks noChangeArrowheads="1"/>
              </p:cNvSpPr>
              <p:nvPr/>
            </p:nvSpPr>
            <p:spPr bwMode="auto">
              <a:xfrm>
                <a:off x="3251" y="1810"/>
                <a:ext cx="29"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6" name="Rectangle 739">
                <a:extLst>
                  <a:ext uri="{FF2B5EF4-FFF2-40B4-BE49-F238E27FC236}">
                    <a16:creationId xmlns:a16="http://schemas.microsoft.com/office/drawing/2014/main" id="{A216E487-6F72-4799-A275-2ABFC9D5E37D}"/>
                  </a:ext>
                </a:extLst>
              </p:cNvPr>
              <p:cNvSpPr>
                <a:spLocks noChangeArrowheads="1"/>
              </p:cNvSpPr>
              <p:nvPr/>
            </p:nvSpPr>
            <p:spPr bwMode="auto">
              <a:xfrm>
                <a:off x="3280"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7" name="Rectangle 740">
                <a:extLst>
                  <a:ext uri="{FF2B5EF4-FFF2-40B4-BE49-F238E27FC236}">
                    <a16:creationId xmlns:a16="http://schemas.microsoft.com/office/drawing/2014/main" id="{51883AEE-FD82-46E3-B470-B2F7A67847C1}"/>
                  </a:ext>
                </a:extLst>
              </p:cNvPr>
              <p:cNvSpPr>
                <a:spLocks noChangeArrowheads="1"/>
              </p:cNvSpPr>
              <p:nvPr/>
            </p:nvSpPr>
            <p:spPr bwMode="auto">
              <a:xfrm>
                <a:off x="3339" y="1810"/>
                <a:ext cx="31" cy="28"/>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8" name="Rectangle 741">
                <a:extLst>
                  <a:ext uri="{FF2B5EF4-FFF2-40B4-BE49-F238E27FC236}">
                    <a16:creationId xmlns:a16="http://schemas.microsoft.com/office/drawing/2014/main" id="{25F7AA35-AAB9-4D37-91E7-27B14CBFBBBA}"/>
                  </a:ext>
                </a:extLst>
              </p:cNvPr>
              <p:cNvSpPr>
                <a:spLocks noChangeArrowheads="1"/>
              </p:cNvSpPr>
              <p:nvPr/>
            </p:nvSpPr>
            <p:spPr bwMode="auto">
              <a:xfrm>
                <a:off x="2198"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69" name="Rectangle 742">
                <a:extLst>
                  <a:ext uri="{FF2B5EF4-FFF2-40B4-BE49-F238E27FC236}">
                    <a16:creationId xmlns:a16="http://schemas.microsoft.com/office/drawing/2014/main" id="{022E2167-A8B1-4DAD-A627-677B7CB62B81}"/>
                  </a:ext>
                </a:extLst>
              </p:cNvPr>
              <p:cNvSpPr>
                <a:spLocks noChangeArrowheads="1"/>
              </p:cNvSpPr>
              <p:nvPr/>
            </p:nvSpPr>
            <p:spPr bwMode="auto">
              <a:xfrm>
                <a:off x="2257"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0" name="Rectangle 743">
                <a:extLst>
                  <a:ext uri="{FF2B5EF4-FFF2-40B4-BE49-F238E27FC236}">
                    <a16:creationId xmlns:a16="http://schemas.microsoft.com/office/drawing/2014/main" id="{7A6C7A4E-8F36-46FC-9041-69303DCBFA61}"/>
                  </a:ext>
                </a:extLst>
              </p:cNvPr>
              <p:cNvSpPr>
                <a:spLocks noChangeArrowheads="1"/>
              </p:cNvSpPr>
              <p:nvPr/>
            </p:nvSpPr>
            <p:spPr bwMode="auto">
              <a:xfrm>
                <a:off x="2285"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1" name="Rectangle 744">
                <a:extLst>
                  <a:ext uri="{FF2B5EF4-FFF2-40B4-BE49-F238E27FC236}">
                    <a16:creationId xmlns:a16="http://schemas.microsoft.com/office/drawing/2014/main" id="{13424070-D32F-4FD4-AD18-CB0D6FDC330D}"/>
                  </a:ext>
                </a:extLst>
              </p:cNvPr>
              <p:cNvSpPr>
                <a:spLocks noChangeArrowheads="1"/>
              </p:cNvSpPr>
              <p:nvPr/>
            </p:nvSpPr>
            <p:spPr bwMode="auto">
              <a:xfrm>
                <a:off x="2316"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2" name="Rectangle 745">
                <a:extLst>
                  <a:ext uri="{FF2B5EF4-FFF2-40B4-BE49-F238E27FC236}">
                    <a16:creationId xmlns:a16="http://schemas.microsoft.com/office/drawing/2014/main" id="{B339654C-3968-401A-A054-F9A944545278}"/>
                  </a:ext>
                </a:extLst>
              </p:cNvPr>
              <p:cNvSpPr>
                <a:spLocks noChangeArrowheads="1"/>
              </p:cNvSpPr>
              <p:nvPr/>
            </p:nvSpPr>
            <p:spPr bwMode="auto">
              <a:xfrm>
                <a:off x="2372"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3" name="Rectangle 746">
                <a:extLst>
                  <a:ext uri="{FF2B5EF4-FFF2-40B4-BE49-F238E27FC236}">
                    <a16:creationId xmlns:a16="http://schemas.microsoft.com/office/drawing/2014/main" id="{60A76400-4490-4A76-B444-F81770469C27}"/>
                  </a:ext>
                </a:extLst>
              </p:cNvPr>
              <p:cNvSpPr>
                <a:spLocks noChangeArrowheads="1"/>
              </p:cNvSpPr>
              <p:nvPr/>
            </p:nvSpPr>
            <p:spPr bwMode="auto">
              <a:xfrm>
                <a:off x="255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4" name="Rectangle 747">
                <a:extLst>
                  <a:ext uri="{FF2B5EF4-FFF2-40B4-BE49-F238E27FC236}">
                    <a16:creationId xmlns:a16="http://schemas.microsoft.com/office/drawing/2014/main" id="{471C133B-55DF-40BE-AE05-AE1B442F1EBF}"/>
                  </a:ext>
                </a:extLst>
              </p:cNvPr>
              <p:cNvSpPr>
                <a:spLocks noChangeArrowheads="1"/>
              </p:cNvSpPr>
              <p:nvPr/>
            </p:nvSpPr>
            <p:spPr bwMode="auto">
              <a:xfrm>
                <a:off x="2578"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5" name="Rectangle 748">
                <a:extLst>
                  <a:ext uri="{FF2B5EF4-FFF2-40B4-BE49-F238E27FC236}">
                    <a16:creationId xmlns:a16="http://schemas.microsoft.com/office/drawing/2014/main" id="{9BC2A628-1A43-4D3F-A14E-F9C08AC6E2AD}"/>
                  </a:ext>
                </a:extLst>
              </p:cNvPr>
              <p:cNvSpPr>
                <a:spLocks noChangeArrowheads="1"/>
              </p:cNvSpPr>
              <p:nvPr/>
            </p:nvSpPr>
            <p:spPr bwMode="auto">
              <a:xfrm>
                <a:off x="2696" y="183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6" name="Rectangle 749">
                <a:extLst>
                  <a:ext uri="{FF2B5EF4-FFF2-40B4-BE49-F238E27FC236}">
                    <a16:creationId xmlns:a16="http://schemas.microsoft.com/office/drawing/2014/main" id="{E0AC7EB7-D45F-48E6-A07F-49BBA2E42DEC}"/>
                  </a:ext>
                </a:extLst>
              </p:cNvPr>
              <p:cNvSpPr>
                <a:spLocks noChangeArrowheads="1"/>
              </p:cNvSpPr>
              <p:nvPr/>
            </p:nvSpPr>
            <p:spPr bwMode="auto">
              <a:xfrm>
                <a:off x="2725"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7" name="Rectangle 750">
                <a:extLst>
                  <a:ext uri="{FF2B5EF4-FFF2-40B4-BE49-F238E27FC236}">
                    <a16:creationId xmlns:a16="http://schemas.microsoft.com/office/drawing/2014/main" id="{C5D8D164-6E4C-43CF-803F-E517B92D3900}"/>
                  </a:ext>
                </a:extLst>
              </p:cNvPr>
              <p:cNvSpPr>
                <a:spLocks noChangeArrowheads="1"/>
              </p:cNvSpPr>
              <p:nvPr/>
            </p:nvSpPr>
            <p:spPr bwMode="auto">
              <a:xfrm>
                <a:off x="2753"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8" name="Rectangle 751">
                <a:extLst>
                  <a:ext uri="{FF2B5EF4-FFF2-40B4-BE49-F238E27FC236}">
                    <a16:creationId xmlns:a16="http://schemas.microsoft.com/office/drawing/2014/main" id="{B9087741-40E9-48D4-8E1B-C48CF33678D4}"/>
                  </a:ext>
                </a:extLst>
              </p:cNvPr>
              <p:cNvSpPr>
                <a:spLocks noChangeArrowheads="1"/>
              </p:cNvSpPr>
              <p:nvPr/>
            </p:nvSpPr>
            <p:spPr bwMode="auto">
              <a:xfrm>
                <a:off x="2784"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79" name="Rectangle 752">
                <a:extLst>
                  <a:ext uri="{FF2B5EF4-FFF2-40B4-BE49-F238E27FC236}">
                    <a16:creationId xmlns:a16="http://schemas.microsoft.com/office/drawing/2014/main" id="{41E3F0C4-939E-411A-A592-9B88717DAF83}"/>
                  </a:ext>
                </a:extLst>
              </p:cNvPr>
              <p:cNvSpPr>
                <a:spLocks noChangeArrowheads="1"/>
              </p:cNvSpPr>
              <p:nvPr/>
            </p:nvSpPr>
            <p:spPr bwMode="auto">
              <a:xfrm>
                <a:off x="2843"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0" name="Rectangle 753">
                <a:extLst>
                  <a:ext uri="{FF2B5EF4-FFF2-40B4-BE49-F238E27FC236}">
                    <a16:creationId xmlns:a16="http://schemas.microsoft.com/office/drawing/2014/main" id="{B6BEB4C9-8C8E-47E7-92F5-F41E2E7B13EC}"/>
                  </a:ext>
                </a:extLst>
              </p:cNvPr>
              <p:cNvSpPr>
                <a:spLocks noChangeArrowheads="1"/>
              </p:cNvSpPr>
              <p:nvPr/>
            </p:nvSpPr>
            <p:spPr bwMode="auto">
              <a:xfrm>
                <a:off x="2871"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1" name="Rectangle 754">
                <a:extLst>
                  <a:ext uri="{FF2B5EF4-FFF2-40B4-BE49-F238E27FC236}">
                    <a16:creationId xmlns:a16="http://schemas.microsoft.com/office/drawing/2014/main" id="{2DA031B9-F229-4730-8959-7A7E5F13EB65}"/>
                  </a:ext>
                </a:extLst>
              </p:cNvPr>
              <p:cNvSpPr>
                <a:spLocks noChangeArrowheads="1"/>
              </p:cNvSpPr>
              <p:nvPr/>
            </p:nvSpPr>
            <p:spPr bwMode="auto">
              <a:xfrm>
                <a:off x="293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2" name="Rectangle 755">
                <a:extLst>
                  <a:ext uri="{FF2B5EF4-FFF2-40B4-BE49-F238E27FC236}">
                    <a16:creationId xmlns:a16="http://schemas.microsoft.com/office/drawing/2014/main" id="{E212D6A6-9357-44F9-AA7D-A0626144D507}"/>
                  </a:ext>
                </a:extLst>
              </p:cNvPr>
              <p:cNvSpPr>
                <a:spLocks noChangeArrowheads="1"/>
              </p:cNvSpPr>
              <p:nvPr/>
            </p:nvSpPr>
            <p:spPr bwMode="auto">
              <a:xfrm>
                <a:off x="2958"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3" name="Rectangle 756">
                <a:extLst>
                  <a:ext uri="{FF2B5EF4-FFF2-40B4-BE49-F238E27FC236}">
                    <a16:creationId xmlns:a16="http://schemas.microsoft.com/office/drawing/2014/main" id="{A5A7AD14-328D-43B9-B00F-0829EFDDE0E6}"/>
                  </a:ext>
                </a:extLst>
              </p:cNvPr>
              <p:cNvSpPr>
                <a:spLocks noChangeArrowheads="1"/>
              </p:cNvSpPr>
              <p:nvPr/>
            </p:nvSpPr>
            <p:spPr bwMode="auto">
              <a:xfrm>
                <a:off x="2989" y="1838"/>
                <a:ext cx="29"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4" name="Rectangle 757">
                <a:extLst>
                  <a:ext uri="{FF2B5EF4-FFF2-40B4-BE49-F238E27FC236}">
                    <a16:creationId xmlns:a16="http://schemas.microsoft.com/office/drawing/2014/main" id="{6B93E925-E731-442F-B233-805335D5ED1B}"/>
                  </a:ext>
                </a:extLst>
              </p:cNvPr>
              <p:cNvSpPr>
                <a:spLocks noChangeArrowheads="1"/>
              </p:cNvSpPr>
              <p:nvPr/>
            </p:nvSpPr>
            <p:spPr bwMode="auto">
              <a:xfrm>
                <a:off x="3077"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5" name="Rectangle 758">
                <a:extLst>
                  <a:ext uri="{FF2B5EF4-FFF2-40B4-BE49-F238E27FC236}">
                    <a16:creationId xmlns:a16="http://schemas.microsoft.com/office/drawing/2014/main" id="{B1376527-6BD8-41BC-9A83-6DB2BE04DB06}"/>
                  </a:ext>
                </a:extLst>
              </p:cNvPr>
              <p:cNvSpPr>
                <a:spLocks noChangeArrowheads="1"/>
              </p:cNvSpPr>
              <p:nvPr/>
            </p:nvSpPr>
            <p:spPr bwMode="auto">
              <a:xfrm>
                <a:off x="3105"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6" name="Rectangle 759">
                <a:extLst>
                  <a:ext uri="{FF2B5EF4-FFF2-40B4-BE49-F238E27FC236}">
                    <a16:creationId xmlns:a16="http://schemas.microsoft.com/office/drawing/2014/main" id="{A406E800-EC82-4523-92F6-A2ECEC23E108}"/>
                  </a:ext>
                </a:extLst>
              </p:cNvPr>
              <p:cNvSpPr>
                <a:spLocks noChangeArrowheads="1"/>
              </p:cNvSpPr>
              <p:nvPr/>
            </p:nvSpPr>
            <p:spPr bwMode="auto">
              <a:xfrm>
                <a:off x="3164"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7" name="Rectangle 760">
                <a:extLst>
                  <a:ext uri="{FF2B5EF4-FFF2-40B4-BE49-F238E27FC236}">
                    <a16:creationId xmlns:a16="http://schemas.microsoft.com/office/drawing/2014/main" id="{6FA5A0A2-2430-4CD7-8DFB-7CF99CD2C56B}"/>
                  </a:ext>
                </a:extLst>
              </p:cNvPr>
              <p:cNvSpPr>
                <a:spLocks noChangeArrowheads="1"/>
              </p:cNvSpPr>
              <p:nvPr/>
            </p:nvSpPr>
            <p:spPr bwMode="auto">
              <a:xfrm>
                <a:off x="3339" y="1838"/>
                <a:ext cx="31"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8" name="Rectangle 761">
                <a:extLst>
                  <a:ext uri="{FF2B5EF4-FFF2-40B4-BE49-F238E27FC236}">
                    <a16:creationId xmlns:a16="http://schemas.microsoft.com/office/drawing/2014/main" id="{8119322B-DF71-4084-9C47-B211F5801DB1}"/>
                  </a:ext>
                </a:extLst>
              </p:cNvPr>
              <p:cNvSpPr>
                <a:spLocks noChangeArrowheads="1"/>
              </p:cNvSpPr>
              <p:nvPr/>
            </p:nvSpPr>
            <p:spPr bwMode="auto">
              <a:xfrm>
                <a:off x="3370" y="1838"/>
                <a:ext cx="28" cy="31"/>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89" name="Rectangle 762">
                <a:extLst>
                  <a:ext uri="{FF2B5EF4-FFF2-40B4-BE49-F238E27FC236}">
                    <a16:creationId xmlns:a16="http://schemas.microsoft.com/office/drawing/2014/main" id="{F2FA050D-A56B-4E85-A01F-A6E6A609941B}"/>
                  </a:ext>
                </a:extLst>
              </p:cNvPr>
              <p:cNvSpPr>
                <a:spLocks noChangeArrowheads="1"/>
              </p:cNvSpPr>
              <p:nvPr/>
            </p:nvSpPr>
            <p:spPr bwMode="auto">
              <a:xfrm>
                <a:off x="219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0" name="Rectangle 763">
                <a:extLst>
                  <a:ext uri="{FF2B5EF4-FFF2-40B4-BE49-F238E27FC236}">
                    <a16:creationId xmlns:a16="http://schemas.microsoft.com/office/drawing/2014/main" id="{2FC588C6-4E8D-40DB-A2FB-0E2D4EDC2C0A}"/>
                  </a:ext>
                </a:extLst>
              </p:cNvPr>
              <p:cNvSpPr>
                <a:spLocks noChangeArrowheads="1"/>
              </p:cNvSpPr>
              <p:nvPr/>
            </p:nvSpPr>
            <p:spPr bwMode="auto">
              <a:xfrm>
                <a:off x="2257"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1" name="Rectangle 764">
                <a:extLst>
                  <a:ext uri="{FF2B5EF4-FFF2-40B4-BE49-F238E27FC236}">
                    <a16:creationId xmlns:a16="http://schemas.microsoft.com/office/drawing/2014/main" id="{61ACDDFE-AD67-457D-B14C-BB52FEB475F4}"/>
                  </a:ext>
                </a:extLst>
              </p:cNvPr>
              <p:cNvSpPr>
                <a:spLocks noChangeArrowheads="1"/>
              </p:cNvSpPr>
              <p:nvPr/>
            </p:nvSpPr>
            <p:spPr bwMode="auto">
              <a:xfrm>
                <a:off x="2285"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2" name="Rectangle 765">
                <a:extLst>
                  <a:ext uri="{FF2B5EF4-FFF2-40B4-BE49-F238E27FC236}">
                    <a16:creationId xmlns:a16="http://schemas.microsoft.com/office/drawing/2014/main" id="{8453A2A3-3C94-48BA-B882-E81CA0EB42D7}"/>
                  </a:ext>
                </a:extLst>
              </p:cNvPr>
              <p:cNvSpPr>
                <a:spLocks noChangeArrowheads="1"/>
              </p:cNvSpPr>
              <p:nvPr/>
            </p:nvSpPr>
            <p:spPr bwMode="auto">
              <a:xfrm>
                <a:off x="2316"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3" name="Rectangle 766">
                <a:extLst>
                  <a:ext uri="{FF2B5EF4-FFF2-40B4-BE49-F238E27FC236}">
                    <a16:creationId xmlns:a16="http://schemas.microsoft.com/office/drawing/2014/main" id="{8DE9B071-DDA8-4AAB-9E1D-ADF3687EB965}"/>
                  </a:ext>
                </a:extLst>
              </p:cNvPr>
              <p:cNvSpPr>
                <a:spLocks noChangeArrowheads="1"/>
              </p:cNvSpPr>
              <p:nvPr/>
            </p:nvSpPr>
            <p:spPr bwMode="auto">
              <a:xfrm>
                <a:off x="237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4" name="Rectangle 767">
                <a:extLst>
                  <a:ext uri="{FF2B5EF4-FFF2-40B4-BE49-F238E27FC236}">
                    <a16:creationId xmlns:a16="http://schemas.microsoft.com/office/drawing/2014/main" id="{03D9E346-92EE-4463-9196-A793D40ACC16}"/>
                  </a:ext>
                </a:extLst>
              </p:cNvPr>
              <p:cNvSpPr>
                <a:spLocks noChangeArrowheads="1"/>
              </p:cNvSpPr>
              <p:nvPr/>
            </p:nvSpPr>
            <p:spPr bwMode="auto">
              <a:xfrm>
                <a:off x="2491"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5" name="Rectangle 768">
                <a:extLst>
                  <a:ext uri="{FF2B5EF4-FFF2-40B4-BE49-F238E27FC236}">
                    <a16:creationId xmlns:a16="http://schemas.microsoft.com/office/drawing/2014/main" id="{705A9F83-E09B-4F84-8307-7CB10E48917A}"/>
                  </a:ext>
                </a:extLst>
              </p:cNvPr>
              <p:cNvSpPr>
                <a:spLocks noChangeArrowheads="1"/>
              </p:cNvSpPr>
              <p:nvPr/>
            </p:nvSpPr>
            <p:spPr bwMode="auto">
              <a:xfrm>
                <a:off x="257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6" name="Rectangle 769">
                <a:extLst>
                  <a:ext uri="{FF2B5EF4-FFF2-40B4-BE49-F238E27FC236}">
                    <a16:creationId xmlns:a16="http://schemas.microsoft.com/office/drawing/2014/main" id="{89FA89E7-99BF-4EB1-8454-9DC4553209DC}"/>
                  </a:ext>
                </a:extLst>
              </p:cNvPr>
              <p:cNvSpPr>
                <a:spLocks noChangeArrowheads="1"/>
              </p:cNvSpPr>
              <p:nvPr/>
            </p:nvSpPr>
            <p:spPr bwMode="auto">
              <a:xfrm>
                <a:off x="2606"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7" name="Rectangle 770">
                <a:extLst>
                  <a:ext uri="{FF2B5EF4-FFF2-40B4-BE49-F238E27FC236}">
                    <a16:creationId xmlns:a16="http://schemas.microsoft.com/office/drawing/2014/main" id="{30C815F1-C0A2-4DF6-BC59-40D377CECFFE}"/>
                  </a:ext>
                </a:extLst>
              </p:cNvPr>
              <p:cNvSpPr>
                <a:spLocks noChangeArrowheads="1"/>
              </p:cNvSpPr>
              <p:nvPr/>
            </p:nvSpPr>
            <p:spPr bwMode="auto">
              <a:xfrm>
                <a:off x="2637"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8" name="Rectangle 771">
                <a:extLst>
                  <a:ext uri="{FF2B5EF4-FFF2-40B4-BE49-F238E27FC236}">
                    <a16:creationId xmlns:a16="http://schemas.microsoft.com/office/drawing/2014/main" id="{52AAE3D6-5802-4F48-A1FC-E28A1A69181D}"/>
                  </a:ext>
                </a:extLst>
              </p:cNvPr>
              <p:cNvSpPr>
                <a:spLocks noChangeArrowheads="1"/>
              </p:cNvSpPr>
              <p:nvPr/>
            </p:nvSpPr>
            <p:spPr bwMode="auto">
              <a:xfrm>
                <a:off x="2665"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199" name="Rectangle 772">
                <a:extLst>
                  <a:ext uri="{FF2B5EF4-FFF2-40B4-BE49-F238E27FC236}">
                    <a16:creationId xmlns:a16="http://schemas.microsoft.com/office/drawing/2014/main" id="{E46B292D-C8AD-4773-B888-55B7424A05C3}"/>
                  </a:ext>
                </a:extLst>
              </p:cNvPr>
              <p:cNvSpPr>
                <a:spLocks noChangeArrowheads="1"/>
              </p:cNvSpPr>
              <p:nvPr/>
            </p:nvSpPr>
            <p:spPr bwMode="auto">
              <a:xfrm>
                <a:off x="2784"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0" name="Rectangle 773">
                <a:extLst>
                  <a:ext uri="{FF2B5EF4-FFF2-40B4-BE49-F238E27FC236}">
                    <a16:creationId xmlns:a16="http://schemas.microsoft.com/office/drawing/2014/main" id="{05C3EC7D-3B2C-4127-9647-C84873D3718B}"/>
                  </a:ext>
                </a:extLst>
              </p:cNvPr>
              <p:cNvSpPr>
                <a:spLocks noChangeArrowheads="1"/>
              </p:cNvSpPr>
              <p:nvPr/>
            </p:nvSpPr>
            <p:spPr bwMode="auto">
              <a:xfrm>
                <a:off x="281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1" name="Rectangle 774">
                <a:extLst>
                  <a:ext uri="{FF2B5EF4-FFF2-40B4-BE49-F238E27FC236}">
                    <a16:creationId xmlns:a16="http://schemas.microsoft.com/office/drawing/2014/main" id="{898D44D6-BC1B-46C8-BAB6-7D5D23FF1129}"/>
                  </a:ext>
                </a:extLst>
              </p:cNvPr>
              <p:cNvSpPr>
                <a:spLocks noChangeArrowheads="1"/>
              </p:cNvSpPr>
              <p:nvPr/>
            </p:nvSpPr>
            <p:spPr bwMode="auto">
              <a:xfrm>
                <a:off x="2843"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2" name="Rectangle 775">
                <a:extLst>
                  <a:ext uri="{FF2B5EF4-FFF2-40B4-BE49-F238E27FC236}">
                    <a16:creationId xmlns:a16="http://schemas.microsoft.com/office/drawing/2014/main" id="{FD428C58-9085-413B-B37D-8600A0D73E25}"/>
                  </a:ext>
                </a:extLst>
              </p:cNvPr>
              <p:cNvSpPr>
                <a:spLocks noChangeArrowheads="1"/>
              </p:cNvSpPr>
              <p:nvPr/>
            </p:nvSpPr>
            <p:spPr bwMode="auto">
              <a:xfrm>
                <a:off x="2899"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3" name="Rectangle 776">
                <a:extLst>
                  <a:ext uri="{FF2B5EF4-FFF2-40B4-BE49-F238E27FC236}">
                    <a16:creationId xmlns:a16="http://schemas.microsoft.com/office/drawing/2014/main" id="{F0719795-0AF8-495A-810E-BEBA19D8BE31}"/>
                  </a:ext>
                </a:extLst>
              </p:cNvPr>
              <p:cNvSpPr>
                <a:spLocks noChangeArrowheads="1"/>
              </p:cNvSpPr>
              <p:nvPr/>
            </p:nvSpPr>
            <p:spPr bwMode="auto">
              <a:xfrm>
                <a:off x="2989" y="186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4" name="Rectangle 777">
                <a:extLst>
                  <a:ext uri="{FF2B5EF4-FFF2-40B4-BE49-F238E27FC236}">
                    <a16:creationId xmlns:a16="http://schemas.microsoft.com/office/drawing/2014/main" id="{683BC4E8-5369-4DC0-9C19-F5477860B130}"/>
                  </a:ext>
                </a:extLst>
              </p:cNvPr>
              <p:cNvSpPr>
                <a:spLocks noChangeArrowheads="1"/>
              </p:cNvSpPr>
              <p:nvPr/>
            </p:nvSpPr>
            <p:spPr bwMode="auto">
              <a:xfrm>
                <a:off x="3018"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5" name="Rectangle 778">
                <a:extLst>
                  <a:ext uri="{FF2B5EF4-FFF2-40B4-BE49-F238E27FC236}">
                    <a16:creationId xmlns:a16="http://schemas.microsoft.com/office/drawing/2014/main" id="{0436E545-9BA1-41D0-B027-56FFA61D6966}"/>
                  </a:ext>
                </a:extLst>
              </p:cNvPr>
              <p:cNvSpPr>
                <a:spLocks noChangeArrowheads="1"/>
              </p:cNvSpPr>
              <p:nvPr/>
            </p:nvSpPr>
            <p:spPr bwMode="auto">
              <a:xfrm>
                <a:off x="3105"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6" name="Rectangle 779">
                <a:extLst>
                  <a:ext uri="{FF2B5EF4-FFF2-40B4-BE49-F238E27FC236}">
                    <a16:creationId xmlns:a16="http://schemas.microsoft.com/office/drawing/2014/main" id="{168884F4-DF21-4175-8F7F-B7493CB0AAA7}"/>
                  </a:ext>
                </a:extLst>
              </p:cNvPr>
              <p:cNvSpPr>
                <a:spLocks noChangeArrowheads="1"/>
              </p:cNvSpPr>
              <p:nvPr/>
            </p:nvSpPr>
            <p:spPr bwMode="auto">
              <a:xfrm>
                <a:off x="3133"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7" name="Rectangle 780">
                <a:extLst>
                  <a:ext uri="{FF2B5EF4-FFF2-40B4-BE49-F238E27FC236}">
                    <a16:creationId xmlns:a16="http://schemas.microsoft.com/office/drawing/2014/main" id="{895F07CB-BF35-4422-9F71-531408C9F67B}"/>
                  </a:ext>
                </a:extLst>
              </p:cNvPr>
              <p:cNvSpPr>
                <a:spLocks noChangeArrowheads="1"/>
              </p:cNvSpPr>
              <p:nvPr/>
            </p:nvSpPr>
            <p:spPr bwMode="auto">
              <a:xfrm>
                <a:off x="3164"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8" name="Rectangle 781">
                <a:extLst>
                  <a:ext uri="{FF2B5EF4-FFF2-40B4-BE49-F238E27FC236}">
                    <a16:creationId xmlns:a16="http://schemas.microsoft.com/office/drawing/2014/main" id="{F0279C17-2709-4440-BA35-645BF2510AD9}"/>
                  </a:ext>
                </a:extLst>
              </p:cNvPr>
              <p:cNvSpPr>
                <a:spLocks noChangeArrowheads="1"/>
              </p:cNvSpPr>
              <p:nvPr/>
            </p:nvSpPr>
            <p:spPr bwMode="auto">
              <a:xfrm>
                <a:off x="3192" y="1869"/>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09" name="Rectangle 782">
                <a:extLst>
                  <a:ext uri="{FF2B5EF4-FFF2-40B4-BE49-F238E27FC236}">
                    <a16:creationId xmlns:a16="http://schemas.microsoft.com/office/drawing/2014/main" id="{E3190493-5409-4397-996D-0066AEB15653}"/>
                  </a:ext>
                </a:extLst>
              </p:cNvPr>
              <p:cNvSpPr>
                <a:spLocks noChangeArrowheads="1"/>
              </p:cNvSpPr>
              <p:nvPr/>
            </p:nvSpPr>
            <p:spPr bwMode="auto">
              <a:xfrm>
                <a:off x="3251" y="1869"/>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0" name="Rectangle 783">
                <a:extLst>
                  <a:ext uri="{FF2B5EF4-FFF2-40B4-BE49-F238E27FC236}">
                    <a16:creationId xmlns:a16="http://schemas.microsoft.com/office/drawing/2014/main" id="{3F422D40-28B2-4F22-AD17-F465B88CB32D}"/>
                  </a:ext>
                </a:extLst>
              </p:cNvPr>
              <p:cNvSpPr>
                <a:spLocks noChangeArrowheads="1"/>
              </p:cNvSpPr>
              <p:nvPr/>
            </p:nvSpPr>
            <p:spPr bwMode="auto">
              <a:xfrm>
                <a:off x="3311" y="1869"/>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1" name="Rectangle 784">
                <a:extLst>
                  <a:ext uri="{FF2B5EF4-FFF2-40B4-BE49-F238E27FC236}">
                    <a16:creationId xmlns:a16="http://schemas.microsoft.com/office/drawing/2014/main" id="{52F26D09-9FC6-45C4-BEB4-6C0075D06F2C}"/>
                  </a:ext>
                </a:extLst>
              </p:cNvPr>
              <p:cNvSpPr>
                <a:spLocks noChangeArrowheads="1"/>
              </p:cNvSpPr>
              <p:nvPr/>
            </p:nvSpPr>
            <p:spPr bwMode="auto">
              <a:xfrm>
                <a:off x="2198"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2" name="Rectangle 785">
                <a:extLst>
                  <a:ext uri="{FF2B5EF4-FFF2-40B4-BE49-F238E27FC236}">
                    <a16:creationId xmlns:a16="http://schemas.microsoft.com/office/drawing/2014/main" id="{2B05C565-3AFD-4B72-9BF5-F5CFE3E47790}"/>
                  </a:ext>
                </a:extLst>
              </p:cNvPr>
              <p:cNvSpPr>
                <a:spLocks noChangeArrowheads="1"/>
              </p:cNvSpPr>
              <p:nvPr/>
            </p:nvSpPr>
            <p:spPr bwMode="auto">
              <a:xfrm>
                <a:off x="2372"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3" name="Rectangle 786">
                <a:extLst>
                  <a:ext uri="{FF2B5EF4-FFF2-40B4-BE49-F238E27FC236}">
                    <a16:creationId xmlns:a16="http://schemas.microsoft.com/office/drawing/2014/main" id="{6045B57C-9204-4A5D-9383-4D3FBE851A13}"/>
                  </a:ext>
                </a:extLst>
              </p:cNvPr>
              <p:cNvSpPr>
                <a:spLocks noChangeArrowheads="1"/>
              </p:cNvSpPr>
              <p:nvPr/>
            </p:nvSpPr>
            <p:spPr bwMode="auto">
              <a:xfrm>
                <a:off x="2431"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4" name="Rectangle 787">
                <a:extLst>
                  <a:ext uri="{FF2B5EF4-FFF2-40B4-BE49-F238E27FC236}">
                    <a16:creationId xmlns:a16="http://schemas.microsoft.com/office/drawing/2014/main" id="{C0B497C6-E660-4AA2-85E4-71CE2024DCBA}"/>
                  </a:ext>
                </a:extLst>
              </p:cNvPr>
              <p:cNvSpPr>
                <a:spLocks noChangeArrowheads="1"/>
              </p:cNvSpPr>
              <p:nvPr/>
            </p:nvSpPr>
            <p:spPr bwMode="auto">
              <a:xfrm>
                <a:off x="2550"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5" name="Rectangle 788">
                <a:extLst>
                  <a:ext uri="{FF2B5EF4-FFF2-40B4-BE49-F238E27FC236}">
                    <a16:creationId xmlns:a16="http://schemas.microsoft.com/office/drawing/2014/main" id="{1FBBCFC9-9407-4792-BF0E-A0E05D106C8B}"/>
                  </a:ext>
                </a:extLst>
              </p:cNvPr>
              <p:cNvSpPr>
                <a:spLocks noChangeArrowheads="1"/>
              </p:cNvSpPr>
              <p:nvPr/>
            </p:nvSpPr>
            <p:spPr bwMode="auto">
              <a:xfrm>
                <a:off x="2665"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6" name="Rectangle 789">
                <a:extLst>
                  <a:ext uri="{FF2B5EF4-FFF2-40B4-BE49-F238E27FC236}">
                    <a16:creationId xmlns:a16="http://schemas.microsoft.com/office/drawing/2014/main" id="{200192AA-C835-4032-861C-99161DF3C58C}"/>
                  </a:ext>
                </a:extLst>
              </p:cNvPr>
              <p:cNvSpPr>
                <a:spLocks noChangeArrowheads="1"/>
              </p:cNvSpPr>
              <p:nvPr/>
            </p:nvSpPr>
            <p:spPr bwMode="auto">
              <a:xfrm>
                <a:off x="3192"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7" name="Rectangle 790">
                <a:extLst>
                  <a:ext uri="{FF2B5EF4-FFF2-40B4-BE49-F238E27FC236}">
                    <a16:creationId xmlns:a16="http://schemas.microsoft.com/office/drawing/2014/main" id="{53F239FF-6027-4232-A569-95D11BC60BDB}"/>
                  </a:ext>
                </a:extLst>
              </p:cNvPr>
              <p:cNvSpPr>
                <a:spLocks noChangeArrowheads="1"/>
              </p:cNvSpPr>
              <p:nvPr/>
            </p:nvSpPr>
            <p:spPr bwMode="auto">
              <a:xfrm>
                <a:off x="3223"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8" name="Rectangle 791">
                <a:extLst>
                  <a:ext uri="{FF2B5EF4-FFF2-40B4-BE49-F238E27FC236}">
                    <a16:creationId xmlns:a16="http://schemas.microsoft.com/office/drawing/2014/main" id="{736FB38B-9321-4DE3-A238-F358CC52B50D}"/>
                  </a:ext>
                </a:extLst>
              </p:cNvPr>
              <p:cNvSpPr>
                <a:spLocks noChangeArrowheads="1"/>
              </p:cNvSpPr>
              <p:nvPr/>
            </p:nvSpPr>
            <p:spPr bwMode="auto">
              <a:xfrm>
                <a:off x="3280" y="1898"/>
                <a:ext cx="31"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19" name="Rectangle 792">
                <a:extLst>
                  <a:ext uri="{FF2B5EF4-FFF2-40B4-BE49-F238E27FC236}">
                    <a16:creationId xmlns:a16="http://schemas.microsoft.com/office/drawing/2014/main" id="{434209A3-7517-445F-A636-29EA0F0123F2}"/>
                  </a:ext>
                </a:extLst>
              </p:cNvPr>
              <p:cNvSpPr>
                <a:spLocks noChangeArrowheads="1"/>
              </p:cNvSpPr>
              <p:nvPr/>
            </p:nvSpPr>
            <p:spPr bwMode="auto">
              <a:xfrm>
                <a:off x="3311"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0" name="Rectangle 793">
                <a:extLst>
                  <a:ext uri="{FF2B5EF4-FFF2-40B4-BE49-F238E27FC236}">
                    <a16:creationId xmlns:a16="http://schemas.microsoft.com/office/drawing/2014/main" id="{976E27C5-E32E-4829-9247-7EDC19D8FC71}"/>
                  </a:ext>
                </a:extLst>
              </p:cNvPr>
              <p:cNvSpPr>
                <a:spLocks noChangeArrowheads="1"/>
              </p:cNvSpPr>
              <p:nvPr/>
            </p:nvSpPr>
            <p:spPr bwMode="auto">
              <a:xfrm>
                <a:off x="3370" y="1898"/>
                <a:ext cx="28" cy="30"/>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1" name="Rectangle 794">
                <a:extLst>
                  <a:ext uri="{FF2B5EF4-FFF2-40B4-BE49-F238E27FC236}">
                    <a16:creationId xmlns:a16="http://schemas.microsoft.com/office/drawing/2014/main" id="{19CC7368-BC7D-4EBE-B0AC-961EC5E657BF}"/>
                  </a:ext>
                </a:extLst>
              </p:cNvPr>
              <p:cNvSpPr>
                <a:spLocks noChangeArrowheads="1"/>
              </p:cNvSpPr>
              <p:nvPr/>
            </p:nvSpPr>
            <p:spPr bwMode="auto">
              <a:xfrm>
                <a:off x="219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2" name="Rectangle 795">
                <a:extLst>
                  <a:ext uri="{FF2B5EF4-FFF2-40B4-BE49-F238E27FC236}">
                    <a16:creationId xmlns:a16="http://schemas.microsoft.com/office/drawing/2014/main" id="{85A590FA-4734-4782-9DF8-6C62CF30FA1D}"/>
                  </a:ext>
                </a:extLst>
              </p:cNvPr>
              <p:cNvSpPr>
                <a:spLocks noChangeArrowheads="1"/>
              </p:cNvSpPr>
              <p:nvPr/>
            </p:nvSpPr>
            <p:spPr bwMode="auto">
              <a:xfrm>
                <a:off x="222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3" name="Rectangle 796">
                <a:extLst>
                  <a:ext uri="{FF2B5EF4-FFF2-40B4-BE49-F238E27FC236}">
                    <a16:creationId xmlns:a16="http://schemas.microsoft.com/office/drawing/2014/main" id="{4723DA02-E08A-45BD-8823-2C2EA1A26A4E}"/>
                  </a:ext>
                </a:extLst>
              </p:cNvPr>
              <p:cNvSpPr>
                <a:spLocks noChangeArrowheads="1"/>
              </p:cNvSpPr>
              <p:nvPr/>
            </p:nvSpPr>
            <p:spPr bwMode="auto">
              <a:xfrm>
                <a:off x="2257"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4" name="Rectangle 797">
                <a:extLst>
                  <a:ext uri="{FF2B5EF4-FFF2-40B4-BE49-F238E27FC236}">
                    <a16:creationId xmlns:a16="http://schemas.microsoft.com/office/drawing/2014/main" id="{9D1567EA-73D6-4155-9543-4097FFEE22D7}"/>
                  </a:ext>
                </a:extLst>
              </p:cNvPr>
              <p:cNvSpPr>
                <a:spLocks noChangeArrowheads="1"/>
              </p:cNvSpPr>
              <p:nvPr/>
            </p:nvSpPr>
            <p:spPr bwMode="auto">
              <a:xfrm>
                <a:off x="2285"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5" name="Rectangle 798">
                <a:extLst>
                  <a:ext uri="{FF2B5EF4-FFF2-40B4-BE49-F238E27FC236}">
                    <a16:creationId xmlns:a16="http://schemas.microsoft.com/office/drawing/2014/main" id="{9928DE05-1A0F-424D-A9C7-D7825DE4BC77}"/>
                  </a:ext>
                </a:extLst>
              </p:cNvPr>
              <p:cNvSpPr>
                <a:spLocks noChangeArrowheads="1"/>
              </p:cNvSpPr>
              <p:nvPr/>
            </p:nvSpPr>
            <p:spPr bwMode="auto">
              <a:xfrm>
                <a:off x="2316"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6" name="Rectangle 799">
                <a:extLst>
                  <a:ext uri="{FF2B5EF4-FFF2-40B4-BE49-F238E27FC236}">
                    <a16:creationId xmlns:a16="http://schemas.microsoft.com/office/drawing/2014/main" id="{1B26F8C6-0681-4B47-949A-E0A1D3D9B870}"/>
                  </a:ext>
                </a:extLst>
              </p:cNvPr>
              <p:cNvSpPr>
                <a:spLocks noChangeArrowheads="1"/>
              </p:cNvSpPr>
              <p:nvPr/>
            </p:nvSpPr>
            <p:spPr bwMode="auto">
              <a:xfrm>
                <a:off x="2344"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7" name="Rectangle 800">
                <a:extLst>
                  <a:ext uri="{FF2B5EF4-FFF2-40B4-BE49-F238E27FC236}">
                    <a16:creationId xmlns:a16="http://schemas.microsoft.com/office/drawing/2014/main" id="{199E5F43-611B-4C58-BC7B-7B48DBF7AA35}"/>
                  </a:ext>
                </a:extLst>
              </p:cNvPr>
              <p:cNvSpPr>
                <a:spLocks noChangeArrowheads="1"/>
              </p:cNvSpPr>
              <p:nvPr/>
            </p:nvSpPr>
            <p:spPr bwMode="auto">
              <a:xfrm>
                <a:off x="2372"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8" name="Rectangle 801">
                <a:extLst>
                  <a:ext uri="{FF2B5EF4-FFF2-40B4-BE49-F238E27FC236}">
                    <a16:creationId xmlns:a16="http://schemas.microsoft.com/office/drawing/2014/main" id="{3561ECDD-0C08-4EE6-99C3-814FAC367F70}"/>
                  </a:ext>
                </a:extLst>
              </p:cNvPr>
              <p:cNvSpPr>
                <a:spLocks noChangeArrowheads="1"/>
              </p:cNvSpPr>
              <p:nvPr/>
            </p:nvSpPr>
            <p:spPr bwMode="auto">
              <a:xfrm>
                <a:off x="2431"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29" name="Rectangle 802">
                <a:extLst>
                  <a:ext uri="{FF2B5EF4-FFF2-40B4-BE49-F238E27FC236}">
                    <a16:creationId xmlns:a16="http://schemas.microsoft.com/office/drawing/2014/main" id="{420161A6-0D93-488A-A3E3-EA6697974D27}"/>
                  </a:ext>
                </a:extLst>
              </p:cNvPr>
              <p:cNvSpPr>
                <a:spLocks noChangeArrowheads="1"/>
              </p:cNvSpPr>
              <p:nvPr/>
            </p:nvSpPr>
            <p:spPr bwMode="auto">
              <a:xfrm>
                <a:off x="2462" y="192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0" name="Rectangle 803">
                <a:extLst>
                  <a:ext uri="{FF2B5EF4-FFF2-40B4-BE49-F238E27FC236}">
                    <a16:creationId xmlns:a16="http://schemas.microsoft.com/office/drawing/2014/main" id="{299A1FF9-D99D-4BEC-965D-8233A34AB8C3}"/>
                  </a:ext>
                </a:extLst>
              </p:cNvPr>
              <p:cNvSpPr>
                <a:spLocks noChangeArrowheads="1"/>
              </p:cNvSpPr>
              <p:nvPr/>
            </p:nvSpPr>
            <p:spPr bwMode="auto">
              <a:xfrm>
                <a:off x="2550"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1" name="Rectangle 804">
                <a:extLst>
                  <a:ext uri="{FF2B5EF4-FFF2-40B4-BE49-F238E27FC236}">
                    <a16:creationId xmlns:a16="http://schemas.microsoft.com/office/drawing/2014/main" id="{CF6860C1-974D-49CF-939B-8B31E8710C63}"/>
                  </a:ext>
                </a:extLst>
              </p:cNvPr>
              <p:cNvSpPr>
                <a:spLocks noChangeArrowheads="1"/>
              </p:cNvSpPr>
              <p:nvPr/>
            </p:nvSpPr>
            <p:spPr bwMode="auto">
              <a:xfrm>
                <a:off x="257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2" name="Rectangle 805">
                <a:extLst>
                  <a:ext uri="{FF2B5EF4-FFF2-40B4-BE49-F238E27FC236}">
                    <a16:creationId xmlns:a16="http://schemas.microsoft.com/office/drawing/2014/main" id="{6BA60862-2BDB-45BF-AF8B-6B8189061EE6}"/>
                  </a:ext>
                </a:extLst>
              </p:cNvPr>
              <p:cNvSpPr>
                <a:spLocks noChangeArrowheads="1"/>
              </p:cNvSpPr>
              <p:nvPr/>
            </p:nvSpPr>
            <p:spPr bwMode="auto">
              <a:xfrm>
                <a:off x="260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3" name="Rectangle 806">
                <a:extLst>
                  <a:ext uri="{FF2B5EF4-FFF2-40B4-BE49-F238E27FC236}">
                    <a16:creationId xmlns:a16="http://schemas.microsoft.com/office/drawing/2014/main" id="{184A5E5C-91C7-469E-88CE-3B6A93167CE0}"/>
                  </a:ext>
                </a:extLst>
              </p:cNvPr>
              <p:cNvSpPr>
                <a:spLocks noChangeArrowheads="1"/>
              </p:cNvSpPr>
              <p:nvPr/>
            </p:nvSpPr>
            <p:spPr bwMode="auto">
              <a:xfrm>
                <a:off x="2637"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4" name="Rectangle 807">
                <a:extLst>
                  <a:ext uri="{FF2B5EF4-FFF2-40B4-BE49-F238E27FC236}">
                    <a16:creationId xmlns:a16="http://schemas.microsoft.com/office/drawing/2014/main" id="{E72E7CC7-A6F9-4B29-B13C-4F8F892D28D7}"/>
                  </a:ext>
                </a:extLst>
              </p:cNvPr>
              <p:cNvSpPr>
                <a:spLocks noChangeArrowheads="1"/>
              </p:cNvSpPr>
              <p:nvPr/>
            </p:nvSpPr>
            <p:spPr bwMode="auto">
              <a:xfrm>
                <a:off x="2696" y="1928"/>
                <a:ext cx="29"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5" name="Rectangle 808">
                <a:extLst>
                  <a:ext uri="{FF2B5EF4-FFF2-40B4-BE49-F238E27FC236}">
                    <a16:creationId xmlns:a16="http://schemas.microsoft.com/office/drawing/2014/main" id="{72D5EBA3-1DD7-4488-9907-CE514681C4FB}"/>
                  </a:ext>
                </a:extLst>
              </p:cNvPr>
              <p:cNvSpPr>
                <a:spLocks noChangeArrowheads="1"/>
              </p:cNvSpPr>
              <p:nvPr/>
            </p:nvSpPr>
            <p:spPr bwMode="auto">
              <a:xfrm>
                <a:off x="2753"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22" name="Rectangle 810">
              <a:extLst>
                <a:ext uri="{FF2B5EF4-FFF2-40B4-BE49-F238E27FC236}">
                  <a16:creationId xmlns:a16="http://schemas.microsoft.com/office/drawing/2014/main" id="{70B30CA7-053A-4B0D-93EE-6B8738671ED8}"/>
                </a:ext>
              </a:extLst>
            </p:cNvPr>
            <p:cNvSpPr>
              <a:spLocks noChangeArrowheads="1"/>
            </p:cNvSpPr>
            <p:nvPr/>
          </p:nvSpPr>
          <p:spPr bwMode="auto">
            <a:xfrm>
              <a:off x="2784"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3" name="Rectangle 811">
              <a:extLst>
                <a:ext uri="{FF2B5EF4-FFF2-40B4-BE49-F238E27FC236}">
                  <a16:creationId xmlns:a16="http://schemas.microsoft.com/office/drawing/2014/main" id="{2C4A27C1-3681-49A2-83E6-E951704DE973}"/>
                </a:ext>
              </a:extLst>
            </p:cNvPr>
            <p:cNvSpPr>
              <a:spLocks noChangeArrowheads="1"/>
            </p:cNvSpPr>
            <p:nvPr/>
          </p:nvSpPr>
          <p:spPr bwMode="auto">
            <a:xfrm>
              <a:off x="2843"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4" name="Rectangle 812">
              <a:extLst>
                <a:ext uri="{FF2B5EF4-FFF2-40B4-BE49-F238E27FC236}">
                  <a16:creationId xmlns:a16="http://schemas.microsoft.com/office/drawing/2014/main" id="{37200F95-DBB7-4225-8C77-098EBE59B5AC}"/>
                </a:ext>
              </a:extLst>
            </p:cNvPr>
            <p:cNvSpPr>
              <a:spLocks noChangeArrowheads="1"/>
            </p:cNvSpPr>
            <p:nvPr/>
          </p:nvSpPr>
          <p:spPr bwMode="auto">
            <a:xfrm>
              <a:off x="2899"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5" name="Rectangle 813">
              <a:extLst>
                <a:ext uri="{FF2B5EF4-FFF2-40B4-BE49-F238E27FC236}">
                  <a16:creationId xmlns:a16="http://schemas.microsoft.com/office/drawing/2014/main" id="{DB168795-1A37-4107-89F6-2A44B83FECF8}"/>
                </a:ext>
              </a:extLst>
            </p:cNvPr>
            <p:cNvSpPr>
              <a:spLocks noChangeArrowheads="1"/>
            </p:cNvSpPr>
            <p:nvPr/>
          </p:nvSpPr>
          <p:spPr bwMode="auto">
            <a:xfrm>
              <a:off x="2930"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6" name="Rectangle 814">
              <a:extLst>
                <a:ext uri="{FF2B5EF4-FFF2-40B4-BE49-F238E27FC236}">
                  <a16:creationId xmlns:a16="http://schemas.microsoft.com/office/drawing/2014/main" id="{3DA4387C-52CD-4B6D-B9A2-CB317FF2436C}"/>
                </a:ext>
              </a:extLst>
            </p:cNvPr>
            <p:cNvSpPr>
              <a:spLocks noChangeArrowheads="1"/>
            </p:cNvSpPr>
            <p:nvPr/>
          </p:nvSpPr>
          <p:spPr bwMode="auto">
            <a:xfrm>
              <a:off x="2958"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7" name="Rectangle 815">
              <a:extLst>
                <a:ext uri="{FF2B5EF4-FFF2-40B4-BE49-F238E27FC236}">
                  <a16:creationId xmlns:a16="http://schemas.microsoft.com/office/drawing/2014/main" id="{1BEDCCF4-C9DD-4AC2-B321-86686D212EB9}"/>
                </a:ext>
              </a:extLst>
            </p:cNvPr>
            <p:cNvSpPr>
              <a:spLocks noChangeArrowheads="1"/>
            </p:cNvSpPr>
            <p:nvPr/>
          </p:nvSpPr>
          <p:spPr bwMode="auto">
            <a:xfrm>
              <a:off x="3018"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8" name="Rectangle 816">
              <a:extLst>
                <a:ext uri="{FF2B5EF4-FFF2-40B4-BE49-F238E27FC236}">
                  <a16:creationId xmlns:a16="http://schemas.microsoft.com/office/drawing/2014/main" id="{343EF46C-7FE6-40A1-8FA8-51DE75206F7C}"/>
                </a:ext>
              </a:extLst>
            </p:cNvPr>
            <p:cNvSpPr>
              <a:spLocks noChangeArrowheads="1"/>
            </p:cNvSpPr>
            <p:nvPr/>
          </p:nvSpPr>
          <p:spPr bwMode="auto">
            <a:xfrm>
              <a:off x="3046"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29" name="Rectangle 817">
              <a:extLst>
                <a:ext uri="{FF2B5EF4-FFF2-40B4-BE49-F238E27FC236}">
                  <a16:creationId xmlns:a16="http://schemas.microsoft.com/office/drawing/2014/main" id="{418F69FB-33DB-4D3A-824B-CD62966A9BA7}"/>
                </a:ext>
              </a:extLst>
            </p:cNvPr>
            <p:cNvSpPr>
              <a:spLocks noChangeArrowheads="1"/>
            </p:cNvSpPr>
            <p:nvPr/>
          </p:nvSpPr>
          <p:spPr bwMode="auto">
            <a:xfrm>
              <a:off x="3105"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0" name="Rectangle 818">
              <a:extLst>
                <a:ext uri="{FF2B5EF4-FFF2-40B4-BE49-F238E27FC236}">
                  <a16:creationId xmlns:a16="http://schemas.microsoft.com/office/drawing/2014/main" id="{268B86CE-EBFA-4685-8383-FD2A631684A3}"/>
                </a:ext>
              </a:extLst>
            </p:cNvPr>
            <p:cNvSpPr>
              <a:spLocks noChangeArrowheads="1"/>
            </p:cNvSpPr>
            <p:nvPr/>
          </p:nvSpPr>
          <p:spPr bwMode="auto">
            <a:xfrm>
              <a:off x="3192" y="1928"/>
              <a:ext cx="31"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1" name="Rectangle 819">
              <a:extLst>
                <a:ext uri="{FF2B5EF4-FFF2-40B4-BE49-F238E27FC236}">
                  <a16:creationId xmlns:a16="http://schemas.microsoft.com/office/drawing/2014/main" id="{F8286E64-9C41-40D6-9D68-83304BEB5DCD}"/>
                </a:ext>
              </a:extLst>
            </p:cNvPr>
            <p:cNvSpPr>
              <a:spLocks noChangeArrowheads="1"/>
            </p:cNvSpPr>
            <p:nvPr/>
          </p:nvSpPr>
          <p:spPr bwMode="auto">
            <a:xfrm>
              <a:off x="3223"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sp>
          <p:nvSpPr>
            <p:cNvPr id="32" name="Rectangle 820">
              <a:extLst>
                <a:ext uri="{FF2B5EF4-FFF2-40B4-BE49-F238E27FC236}">
                  <a16:creationId xmlns:a16="http://schemas.microsoft.com/office/drawing/2014/main" id="{A2A84B2A-267C-4785-9540-4DF8F888A7BA}"/>
                </a:ext>
              </a:extLst>
            </p:cNvPr>
            <p:cNvSpPr>
              <a:spLocks noChangeArrowheads="1"/>
            </p:cNvSpPr>
            <p:nvPr/>
          </p:nvSpPr>
          <p:spPr bwMode="auto">
            <a:xfrm>
              <a:off x="3311" y="1928"/>
              <a:ext cx="28" cy="29"/>
            </a:xfrm>
            <a:prstGeom prst="rect">
              <a:avLst/>
            </a:prstGeom>
            <a:solidFill>
              <a:srgbClr val="7D8386"/>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121920" tIns="60960" rIns="121920" bIns="6096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37" name="Freeform 2">
            <a:extLst>
              <a:ext uri="{FF2B5EF4-FFF2-40B4-BE49-F238E27FC236}">
                <a16:creationId xmlns:a16="http://schemas.microsoft.com/office/drawing/2014/main" id="{405EEA13-2FFA-4500-9831-027D67933601}"/>
              </a:ext>
            </a:extLst>
          </p:cNvPr>
          <p:cNvSpPr>
            <a:spLocks noChangeArrowheads="1"/>
          </p:cNvSpPr>
          <p:nvPr/>
        </p:nvSpPr>
        <p:spPr bwMode="auto">
          <a:xfrm>
            <a:off x="6087768" y="1835905"/>
            <a:ext cx="26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Transparenter Self-Service Währungswechsel </a:t>
            </a:r>
            <a:endParaRPr kumimoji="0" lang="de-CH" sz="1400" b="0" i="0" u="none" strike="noStrike" kern="1200" cap="none" spc="0" normalizeH="0" baseline="0" noProof="0" dirty="0">
              <a:ln>
                <a:noFill/>
              </a:ln>
              <a:solidFill>
                <a:srgbClr val="FFFFFF"/>
              </a:solidFill>
              <a:effectLst/>
              <a:uLnTx/>
              <a:uFillTx/>
              <a:latin typeface="Corona LT"/>
              <a:ea typeface="+mn-ea"/>
              <a:cs typeface="+mn-cs"/>
            </a:endParaRPr>
          </a:p>
        </p:txBody>
      </p:sp>
      <p:sp>
        <p:nvSpPr>
          <p:cNvPr id="838" name="Textfeld 837">
            <a:extLst>
              <a:ext uri="{FF2B5EF4-FFF2-40B4-BE49-F238E27FC236}">
                <a16:creationId xmlns:a16="http://schemas.microsoft.com/office/drawing/2014/main" id="{A0F70DD0-E18A-42BF-A9B8-E9923F01EB2F}"/>
              </a:ext>
            </a:extLst>
          </p:cNvPr>
          <p:cNvSpPr txBox="1"/>
          <p:nvPr/>
        </p:nvSpPr>
        <p:spPr bwMode="auto">
          <a:xfrm>
            <a:off x="6107200" y="1438726"/>
            <a:ext cx="2479725" cy="3375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EXCHANGE</a:t>
            </a:r>
          </a:p>
        </p:txBody>
      </p:sp>
      <p:sp>
        <p:nvSpPr>
          <p:cNvPr id="839" name="Textfeld 838">
            <a:extLst>
              <a:ext uri="{FF2B5EF4-FFF2-40B4-BE49-F238E27FC236}">
                <a16:creationId xmlns:a16="http://schemas.microsoft.com/office/drawing/2014/main" id="{D107418A-53EB-4C44-ABB7-41B41B54D28B}"/>
              </a:ext>
            </a:extLst>
          </p:cNvPr>
          <p:cNvSpPr txBox="1"/>
          <p:nvPr/>
        </p:nvSpPr>
        <p:spPr bwMode="auto">
          <a:xfrm>
            <a:off x="6280512" y="3689237"/>
            <a:ext cx="2133103" cy="914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400" b="0" i="0" u="none" strike="noStrike" kern="1200" cap="none" spc="0" normalizeH="0" baseline="0" noProof="0" dirty="0">
                <a:ln>
                  <a:noFill/>
                </a:ln>
                <a:solidFill>
                  <a:srgbClr val="FFFFFF"/>
                </a:solidFill>
                <a:effectLst/>
                <a:uLnTx/>
                <a:uFillTx/>
                <a:latin typeface="HelveticaNeueLT Com 55 Roman"/>
                <a:ea typeface="+mn-ea"/>
                <a:cs typeface="+mn-cs"/>
              </a:rPr>
              <a:t>Wurde an die Bedürfnisse von KMU angepasst, damit Sie Ihren Währungswechsel effizient und zu besten Kursen ausführen können</a:t>
            </a:r>
          </a:p>
        </p:txBody>
      </p:sp>
      <p:pic>
        <p:nvPicPr>
          <p:cNvPr id="3" name="Grafik 2">
            <a:extLst>
              <a:ext uri="{FF2B5EF4-FFF2-40B4-BE49-F238E27FC236}">
                <a16:creationId xmlns:a16="http://schemas.microsoft.com/office/drawing/2014/main" id="{BE9F26BC-3EE0-5106-43D8-8D101667698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2446166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Freeform 6">
            <a:extLst>
              <a:ext uri="{FF2B5EF4-FFF2-40B4-BE49-F238E27FC236}">
                <a16:creationId xmlns:a16="http://schemas.microsoft.com/office/drawing/2014/main" id="{491D2989-6D26-441D-A13E-C112FF9BB8A4}"/>
              </a:ext>
            </a:extLst>
          </p:cNvPr>
          <p:cNvSpPr>
            <a:spLocks noChangeArrowheads="1"/>
          </p:cNvSpPr>
          <p:nvPr/>
        </p:nvSpPr>
        <p:spPr bwMode="auto">
          <a:xfrm>
            <a:off x="4191814" y="1799549"/>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rPr>
              <a:t>Preisvorteil</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500" b="0"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rPr>
              <a:t>Transparente Konditionen und tiefe Zahlungs-verkehrs-</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rPr>
              <a:t>gebühren</a:t>
            </a:r>
            <a:endParaRPr kumimoji="0" lang="de-CH" altLang="de-DE" sz="14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1702" name="Freeform 2">
            <a:extLst>
              <a:ext uri="{FF2B5EF4-FFF2-40B4-BE49-F238E27FC236}">
                <a16:creationId xmlns:a16="http://schemas.microsoft.com/office/drawing/2014/main" id="{AA21D54A-FD55-4FAC-BBEF-22C69518AE2D}"/>
              </a:ext>
            </a:extLst>
          </p:cNvPr>
          <p:cNvSpPr>
            <a:spLocks noChangeArrowheads="1"/>
          </p:cNvSpPr>
          <p:nvPr/>
        </p:nvSpPr>
        <p:spPr bwMode="auto">
          <a:xfrm>
            <a:off x="479376" y="1809014"/>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Einfach</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Intuitives Powertool mit Fokus auf Benutzer-freundlichkeit</a:t>
            </a:r>
            <a:endPar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endParaRPr>
          </a:p>
        </p:txBody>
      </p:sp>
      <p:sp>
        <p:nvSpPr>
          <p:cNvPr id="1703" name="Freeform 2">
            <a:extLst>
              <a:ext uri="{FF2B5EF4-FFF2-40B4-BE49-F238E27FC236}">
                <a16:creationId xmlns:a16="http://schemas.microsoft.com/office/drawing/2014/main" id="{AA21D54A-FD55-4FAC-BBEF-22C69518AE2D}"/>
              </a:ext>
            </a:extLst>
          </p:cNvPr>
          <p:cNvSpPr>
            <a:spLocks noChangeArrowheads="1"/>
          </p:cNvSpPr>
          <p:nvPr/>
        </p:nvSpPr>
        <p:spPr bwMode="auto">
          <a:xfrm>
            <a:off x="9763610" y="1797555"/>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de-DE" altLang="de-DE" sz="1600" b="1" dirty="0">
                <a:solidFill>
                  <a:srgbClr val="FFFFFF"/>
                </a:solidFill>
                <a:latin typeface="HelveticaNeueLT Pro 55 Roman" pitchFamily="34" charset="0"/>
                <a:sym typeface="Lato" charset="0"/>
              </a:rPr>
              <a:t>Guthaben </a:t>
            </a:r>
            <a:r>
              <a:rPr lang="de-DE" altLang="de-DE" sz="1600" b="1" dirty="0" err="1">
                <a:solidFill>
                  <a:srgbClr val="FFFFFF"/>
                </a:solidFill>
                <a:latin typeface="HelveticaNeueLT Pro 55 Roman" pitchFamily="34" charset="0"/>
                <a:sym typeface="Lato" charset="0"/>
              </a:rPr>
              <a:t>Cashback</a:t>
            </a:r>
            <a:endParaRPr kumimoji="0" lang="de-DE" altLang="de-DE" sz="16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1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2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2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Erträge auf Ihren Guthaben in EUR, USD, GBP und CZK</a:t>
            </a:r>
            <a:endPar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endParaRPr>
          </a:p>
        </p:txBody>
      </p:sp>
      <p:sp>
        <p:nvSpPr>
          <p:cNvPr id="1704" name="Freeform 2">
            <a:extLst>
              <a:ext uri="{FF2B5EF4-FFF2-40B4-BE49-F238E27FC236}">
                <a16:creationId xmlns:a16="http://schemas.microsoft.com/office/drawing/2014/main" id="{AA21D54A-FD55-4FAC-BBEF-22C69518AE2D}"/>
              </a:ext>
            </a:extLst>
          </p:cNvPr>
          <p:cNvSpPr>
            <a:spLocks noChangeArrowheads="1"/>
          </p:cNvSpPr>
          <p:nvPr/>
        </p:nvSpPr>
        <p:spPr bwMode="auto">
          <a:xfrm>
            <a:off x="2336222" y="1811905"/>
            <a:ext cx="1728000" cy="3960000"/>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24/7 sicherer Zugang </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Rund um die </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Uhr Devisen wechseln und Zahlungen tätigen</a:t>
            </a:r>
            <a:endPar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endParaRPr>
          </a:p>
        </p:txBody>
      </p:sp>
      <p:sp>
        <p:nvSpPr>
          <p:cNvPr id="1705" name="Freeform 4">
            <a:extLst>
              <a:ext uri="{FF2B5EF4-FFF2-40B4-BE49-F238E27FC236}">
                <a16:creationId xmlns:a16="http://schemas.microsoft.com/office/drawing/2014/main" id="{0165DE01-0993-4B6F-BF6B-FD1C730DA7FE}"/>
              </a:ext>
            </a:extLst>
          </p:cNvPr>
          <p:cNvSpPr>
            <a:spLocks noChangeArrowheads="1"/>
          </p:cNvSpPr>
          <p:nvPr/>
        </p:nvSpPr>
        <p:spPr bwMode="auto">
          <a:xfrm>
            <a:off x="6036392" y="1803359"/>
            <a:ext cx="1728000" cy="3960000"/>
          </a:xfrm>
          <a:custGeom>
            <a:avLst/>
            <a:gdLst>
              <a:gd name="T0" fmla="*/ 0 w 3678"/>
              <a:gd name="T1" fmla="*/ 0 h 3653"/>
              <a:gd name="T2" fmla="*/ 3677 w 3678"/>
              <a:gd name="T3" fmla="*/ 0 h 3653"/>
              <a:gd name="T4" fmla="*/ 3677 w 3678"/>
              <a:gd name="T5" fmla="*/ 3652 h 3653"/>
              <a:gd name="T6" fmla="*/ 0 w 3678"/>
              <a:gd name="T7" fmla="*/ 3652 h 3653"/>
              <a:gd name="T8" fmla="*/ 0 w 3678"/>
              <a:gd name="T9" fmla="*/ 0 h 3653"/>
            </a:gdLst>
            <a:ahLst/>
            <a:cxnLst>
              <a:cxn ang="0">
                <a:pos x="T0" y="T1"/>
              </a:cxn>
              <a:cxn ang="0">
                <a:pos x="T2" y="T3"/>
              </a:cxn>
              <a:cxn ang="0">
                <a:pos x="T4" y="T5"/>
              </a:cxn>
              <a:cxn ang="0">
                <a:pos x="T6" y="T7"/>
              </a:cxn>
              <a:cxn ang="0">
                <a:pos x="T8" y="T9"/>
              </a:cxn>
            </a:cxnLst>
            <a:rect l="0" t="0" r="r" b="b"/>
            <a:pathLst>
              <a:path w="3678" h="3653">
                <a:moveTo>
                  <a:pt x="0" y="0"/>
                </a:moveTo>
                <a:lnTo>
                  <a:pt x="3677" y="0"/>
                </a:lnTo>
                <a:lnTo>
                  <a:pt x="3677"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err="1">
                <a:ln>
                  <a:noFill/>
                </a:ln>
                <a:solidFill>
                  <a:srgbClr val="FFFFFF"/>
                </a:solidFill>
                <a:effectLst/>
                <a:uLnTx/>
                <a:uFillTx/>
                <a:latin typeface="HelveticaNeueLT Pro 55 Roman" pitchFamily="34" charset="0"/>
                <a:ea typeface="+mn-ea"/>
                <a:cs typeface="+mn-cs"/>
                <a:sym typeface="Lato" charset="0"/>
              </a:rPr>
              <a:t>Automati-sierungen</a:t>
            </a:r>
            <a:endParaRPr kumimoji="0" lang="de-DE"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Buchhaltungs-anbindungen, Integrationen, Schnittstellen, und Prozessauto-</a:t>
            </a:r>
            <a:r>
              <a:rPr kumimoji="0" lang="de-DE" altLang="de-DE" sz="1400" b="0" i="0" u="none" strike="noStrike" kern="1200" cap="none" spc="0" normalizeH="0" baseline="0" noProof="0" dirty="0" err="1">
                <a:ln>
                  <a:noFill/>
                </a:ln>
                <a:solidFill>
                  <a:srgbClr val="FFFFFF"/>
                </a:solidFill>
                <a:effectLst/>
                <a:uLnTx/>
                <a:uFillTx/>
                <a:latin typeface="HelveticaNeueLT Pro 55 Roman" pitchFamily="34" charset="0"/>
                <a:ea typeface="+mn-ea"/>
                <a:cs typeface="+mn-cs"/>
                <a:sym typeface="Lato" charset="0"/>
              </a:rPr>
              <a:t>matisierungen</a:t>
            </a:r>
            <a:endPar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endParaRPr>
          </a:p>
        </p:txBody>
      </p:sp>
      <p:sp>
        <p:nvSpPr>
          <p:cNvPr id="51" name="Freeform 4">
            <a:extLst>
              <a:ext uri="{FF2B5EF4-FFF2-40B4-BE49-F238E27FC236}">
                <a16:creationId xmlns:a16="http://schemas.microsoft.com/office/drawing/2014/main" id="{7AAF68B7-24B4-486F-9CBA-45F5B0C7EDB0}"/>
              </a:ext>
            </a:extLst>
          </p:cNvPr>
          <p:cNvSpPr>
            <a:spLocks noChangeArrowheads="1"/>
          </p:cNvSpPr>
          <p:nvPr/>
        </p:nvSpPr>
        <p:spPr bwMode="auto">
          <a:xfrm>
            <a:off x="7919965" y="1797555"/>
            <a:ext cx="1728000" cy="3960000"/>
          </a:xfrm>
          <a:custGeom>
            <a:avLst/>
            <a:gdLst>
              <a:gd name="T0" fmla="*/ 0 w 3678"/>
              <a:gd name="T1" fmla="*/ 0 h 3653"/>
              <a:gd name="T2" fmla="*/ 3677 w 3678"/>
              <a:gd name="T3" fmla="*/ 0 h 3653"/>
              <a:gd name="T4" fmla="*/ 3677 w 3678"/>
              <a:gd name="T5" fmla="*/ 3652 h 3653"/>
              <a:gd name="T6" fmla="*/ 0 w 3678"/>
              <a:gd name="T7" fmla="*/ 3652 h 3653"/>
              <a:gd name="T8" fmla="*/ 0 w 3678"/>
              <a:gd name="T9" fmla="*/ 0 h 3653"/>
            </a:gdLst>
            <a:ahLst/>
            <a:cxnLst>
              <a:cxn ang="0">
                <a:pos x="T0" y="T1"/>
              </a:cxn>
              <a:cxn ang="0">
                <a:pos x="T2" y="T3"/>
              </a:cxn>
              <a:cxn ang="0">
                <a:pos x="T4" y="T5"/>
              </a:cxn>
              <a:cxn ang="0">
                <a:pos x="T6" y="T7"/>
              </a:cxn>
              <a:cxn ang="0">
                <a:pos x="T8" y="T9"/>
              </a:cxn>
            </a:cxnLst>
            <a:rect l="0" t="0" r="r" b="b"/>
            <a:pathLst>
              <a:path w="3678" h="3653">
                <a:moveTo>
                  <a:pt x="0" y="0"/>
                </a:moveTo>
                <a:lnTo>
                  <a:pt x="3677" y="0"/>
                </a:lnTo>
                <a:lnTo>
                  <a:pt x="3677"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de-DE"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Business-Debitkarte</a:t>
            </a:r>
          </a:p>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endParaRP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Multiwährungs-Debitkarten mit Spesenmanagement für Ihr gesamtes KMU</a:t>
            </a:r>
            <a:endParaRPr kumimoji="0" lang="de-CH" altLang="de-DE" sz="1400" b="0" i="0" u="none" strike="noStrike" kern="1200" cap="none" spc="0" normalizeH="0" baseline="0" noProof="0" dirty="0">
              <a:ln>
                <a:noFill/>
              </a:ln>
              <a:solidFill>
                <a:srgbClr val="FFFFFF"/>
              </a:solidFill>
              <a:effectLst/>
              <a:uLnTx/>
              <a:uFillTx/>
              <a:latin typeface="HelveticaNeueLT Pro 55 Roman" pitchFamily="34" charset="0"/>
              <a:ea typeface="+mn-ea"/>
              <a:cs typeface="+mn-cs"/>
            </a:endParaRPr>
          </a:p>
        </p:txBody>
      </p:sp>
      <p:pic>
        <p:nvPicPr>
          <p:cNvPr id="47" name="Grafik 46">
            <a:extLst>
              <a:ext uri="{FF2B5EF4-FFF2-40B4-BE49-F238E27FC236}">
                <a16:creationId xmlns:a16="http://schemas.microsoft.com/office/drawing/2014/main" id="{B2C99972-F2EA-429C-B2F3-B937EA4C60DD}"/>
              </a:ext>
            </a:extLst>
          </p:cNvPr>
          <p:cNvPicPr>
            <a:picLocks noChangeAspect="1"/>
          </p:cNvPicPr>
          <p:nvPr/>
        </p:nvPicPr>
        <p:blipFill rotWithShape="1">
          <a:blip r:embed="rId3"/>
          <a:srcRect l="39174" r="-3221" b="12134"/>
          <a:stretch/>
        </p:blipFill>
        <p:spPr>
          <a:xfrm>
            <a:off x="10614713" y="406111"/>
            <a:ext cx="1352665" cy="571988"/>
          </a:xfrm>
          <a:prstGeom prst="rect">
            <a:avLst/>
          </a:prstGeom>
        </p:spPr>
      </p:pic>
      <p:sp>
        <p:nvSpPr>
          <p:cNvPr id="49" name="Titel 1">
            <a:extLst>
              <a:ext uri="{FF2B5EF4-FFF2-40B4-BE49-F238E27FC236}">
                <a16:creationId xmlns:a16="http://schemas.microsoft.com/office/drawing/2014/main" id="{CE39C8ED-42E3-441A-B0E8-299738502F31}"/>
              </a:ext>
            </a:extLst>
          </p:cNvPr>
          <p:cNvSpPr>
            <a:spLocks noGrp="1"/>
          </p:cNvSpPr>
          <p:nvPr>
            <p:ph type="title"/>
          </p:nvPr>
        </p:nvSpPr>
        <p:spPr>
          <a:xfrm>
            <a:off x="482486" y="475753"/>
            <a:ext cx="11161240" cy="1008112"/>
          </a:xfrm>
        </p:spPr>
        <p:txBody>
          <a:bodyPr vert="horz"/>
          <a:lstStyle/>
          <a:p>
            <a:r>
              <a:rPr lang="de-CH" dirty="0" err="1"/>
              <a:t>amnis</a:t>
            </a:r>
            <a:r>
              <a:rPr lang="de-CH" dirty="0"/>
              <a:t> – globales Banking mit Mehrwert</a:t>
            </a:r>
            <a:br>
              <a:rPr lang="de-CH" dirty="0"/>
            </a:br>
            <a:r>
              <a:rPr lang="de-CH" sz="1800" b="0" dirty="0">
                <a:solidFill>
                  <a:srgbClr val="28828B"/>
                </a:solidFill>
                <a:latin typeface="+mn-lt"/>
              </a:rPr>
              <a:t>Ihre Wettbewerbsvorteile</a:t>
            </a:r>
            <a:endParaRPr lang="de-CH" sz="1800" b="0" dirty="0">
              <a:solidFill>
                <a:srgbClr val="28828B"/>
              </a:solidFill>
            </a:endParaRPr>
          </a:p>
        </p:txBody>
      </p:sp>
      <p:grpSp>
        <p:nvGrpSpPr>
          <p:cNvPr id="50" name="Google Shape;310;p14"/>
          <p:cNvGrpSpPr/>
          <p:nvPr/>
        </p:nvGrpSpPr>
        <p:grpSpPr>
          <a:xfrm>
            <a:off x="911424" y="1950204"/>
            <a:ext cx="677123" cy="677122"/>
            <a:chOff x="3024201" y="5664748"/>
            <a:chExt cx="313370" cy="313370"/>
          </a:xfrm>
          <a:solidFill>
            <a:schemeClr val="bg1"/>
          </a:solidFill>
        </p:grpSpPr>
        <p:sp>
          <p:nvSpPr>
            <p:cNvPr id="59" name="Google Shape;311;p14"/>
            <p:cNvSpPr/>
            <p:nvPr/>
          </p:nvSpPr>
          <p:spPr>
            <a:xfrm>
              <a:off x="3024201" y="5664748"/>
              <a:ext cx="312180" cy="222230"/>
            </a:xfrm>
            <a:custGeom>
              <a:avLst/>
              <a:gdLst/>
              <a:ahLst/>
              <a:cxnLst/>
              <a:rect l="l" t="t" r="r" b="b"/>
              <a:pathLst>
                <a:path w="312180" h="222229" extrusionOk="0">
                  <a:moveTo>
                    <a:pt x="295778" y="0"/>
                  </a:moveTo>
                  <a:lnTo>
                    <a:pt x="19048" y="0"/>
                  </a:lnTo>
                  <a:cubicBezTo>
                    <a:pt x="8466" y="0"/>
                    <a:pt x="0" y="8466"/>
                    <a:pt x="0" y="18519"/>
                  </a:cubicBezTo>
                  <a:lnTo>
                    <a:pt x="0" y="43917"/>
                  </a:lnTo>
                  <a:lnTo>
                    <a:pt x="0" y="204769"/>
                  </a:lnTo>
                  <a:cubicBezTo>
                    <a:pt x="0" y="215352"/>
                    <a:pt x="8466" y="223289"/>
                    <a:pt x="19048" y="223289"/>
                  </a:cubicBezTo>
                  <a:lnTo>
                    <a:pt x="119581" y="223289"/>
                  </a:lnTo>
                  <a:cubicBezTo>
                    <a:pt x="123285" y="223289"/>
                    <a:pt x="125930" y="220643"/>
                    <a:pt x="125930" y="216939"/>
                  </a:cubicBezTo>
                  <a:cubicBezTo>
                    <a:pt x="125930" y="213235"/>
                    <a:pt x="123285" y="210590"/>
                    <a:pt x="119581" y="210590"/>
                  </a:cubicBezTo>
                  <a:lnTo>
                    <a:pt x="19048" y="210590"/>
                  </a:lnTo>
                  <a:cubicBezTo>
                    <a:pt x="15874" y="210590"/>
                    <a:pt x="13228" y="207944"/>
                    <a:pt x="13228" y="204769"/>
                  </a:cubicBezTo>
                  <a:lnTo>
                    <a:pt x="13228" y="50266"/>
                  </a:lnTo>
                  <a:lnTo>
                    <a:pt x="301598" y="50266"/>
                  </a:lnTo>
                  <a:lnTo>
                    <a:pt x="301598" y="204769"/>
                  </a:lnTo>
                  <a:cubicBezTo>
                    <a:pt x="301598" y="207944"/>
                    <a:pt x="298952" y="210590"/>
                    <a:pt x="295778" y="210590"/>
                  </a:cubicBezTo>
                  <a:lnTo>
                    <a:pt x="262972" y="210590"/>
                  </a:lnTo>
                  <a:cubicBezTo>
                    <a:pt x="259268" y="210590"/>
                    <a:pt x="256623" y="213235"/>
                    <a:pt x="256623" y="216939"/>
                  </a:cubicBezTo>
                  <a:cubicBezTo>
                    <a:pt x="256623" y="220643"/>
                    <a:pt x="259268" y="223289"/>
                    <a:pt x="262972" y="223289"/>
                  </a:cubicBezTo>
                  <a:lnTo>
                    <a:pt x="295778" y="223289"/>
                  </a:lnTo>
                  <a:cubicBezTo>
                    <a:pt x="306360" y="223289"/>
                    <a:pt x="314297" y="214822"/>
                    <a:pt x="314297" y="204769"/>
                  </a:cubicBezTo>
                  <a:lnTo>
                    <a:pt x="314297" y="44446"/>
                  </a:lnTo>
                  <a:lnTo>
                    <a:pt x="314297" y="19048"/>
                  </a:lnTo>
                  <a:cubicBezTo>
                    <a:pt x="314826" y="8466"/>
                    <a:pt x="306360" y="0"/>
                    <a:pt x="295778" y="0"/>
                  </a:cubicBezTo>
                  <a:close/>
                  <a:moveTo>
                    <a:pt x="13228" y="38097"/>
                  </a:moveTo>
                  <a:lnTo>
                    <a:pt x="13228" y="19048"/>
                  </a:lnTo>
                  <a:cubicBezTo>
                    <a:pt x="13228" y="15874"/>
                    <a:pt x="15874" y="13228"/>
                    <a:pt x="19048" y="13228"/>
                  </a:cubicBezTo>
                  <a:lnTo>
                    <a:pt x="295778" y="13228"/>
                  </a:lnTo>
                  <a:cubicBezTo>
                    <a:pt x="298952" y="13228"/>
                    <a:pt x="301598" y="15874"/>
                    <a:pt x="301598" y="19048"/>
                  </a:cubicBezTo>
                  <a:lnTo>
                    <a:pt x="301598" y="38097"/>
                  </a:lnTo>
                  <a:lnTo>
                    <a:pt x="13228" y="38097"/>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0" name="Google Shape;312;p14"/>
            <p:cNvSpPr/>
            <p:nvPr/>
          </p:nvSpPr>
          <p:spPr>
            <a:xfrm>
              <a:off x="3046424" y="5684326"/>
              <a:ext cx="10582" cy="10582"/>
            </a:xfrm>
            <a:custGeom>
              <a:avLst/>
              <a:gdLst/>
              <a:ahLst/>
              <a:cxnLst/>
              <a:rect l="l" t="t" r="r" b="b"/>
              <a:pathLst>
                <a:path w="10582" h="10582" extrusionOk="0">
                  <a:moveTo>
                    <a:pt x="6878" y="0"/>
                  </a:moveTo>
                  <a:cubicBezTo>
                    <a:pt x="3175" y="0"/>
                    <a:pt x="0" y="3175"/>
                    <a:pt x="0" y="6878"/>
                  </a:cubicBezTo>
                  <a:cubicBezTo>
                    <a:pt x="0" y="10582"/>
                    <a:pt x="3175" y="13757"/>
                    <a:pt x="6878" y="13757"/>
                  </a:cubicBezTo>
                  <a:cubicBezTo>
                    <a:pt x="10582" y="13757"/>
                    <a:pt x="13757" y="10582"/>
                    <a:pt x="13757" y="6878"/>
                  </a:cubicBezTo>
                  <a:cubicBezTo>
                    <a:pt x="13757" y="3175"/>
                    <a:pt x="10582" y="0"/>
                    <a:pt x="6878" y="0"/>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2" name="Google Shape;313;p14"/>
            <p:cNvSpPr/>
            <p:nvPr/>
          </p:nvSpPr>
          <p:spPr>
            <a:xfrm>
              <a:off x="3069176" y="5684326"/>
              <a:ext cx="10582" cy="10582"/>
            </a:xfrm>
            <a:custGeom>
              <a:avLst/>
              <a:gdLst/>
              <a:ahLst/>
              <a:cxnLst/>
              <a:rect l="l" t="t" r="r" b="b"/>
              <a:pathLst>
                <a:path w="10582" h="10582" extrusionOk="0">
                  <a:moveTo>
                    <a:pt x="6878" y="0"/>
                  </a:moveTo>
                  <a:cubicBezTo>
                    <a:pt x="3175" y="0"/>
                    <a:pt x="0" y="3175"/>
                    <a:pt x="0" y="6878"/>
                  </a:cubicBezTo>
                  <a:cubicBezTo>
                    <a:pt x="0" y="10582"/>
                    <a:pt x="3175" y="13757"/>
                    <a:pt x="6878" y="13757"/>
                  </a:cubicBezTo>
                  <a:cubicBezTo>
                    <a:pt x="10582" y="13757"/>
                    <a:pt x="13757" y="10582"/>
                    <a:pt x="13757" y="6878"/>
                  </a:cubicBezTo>
                  <a:cubicBezTo>
                    <a:pt x="13757" y="3175"/>
                    <a:pt x="10582" y="0"/>
                    <a:pt x="6878" y="0"/>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3" name="Google Shape;314;p14"/>
            <p:cNvSpPr/>
            <p:nvPr/>
          </p:nvSpPr>
          <p:spPr>
            <a:xfrm>
              <a:off x="3091928" y="5684326"/>
              <a:ext cx="10582" cy="10582"/>
            </a:xfrm>
            <a:custGeom>
              <a:avLst/>
              <a:gdLst/>
              <a:ahLst/>
              <a:cxnLst/>
              <a:rect l="l" t="t" r="r" b="b"/>
              <a:pathLst>
                <a:path w="10582" h="10582" extrusionOk="0">
                  <a:moveTo>
                    <a:pt x="6878" y="0"/>
                  </a:moveTo>
                  <a:cubicBezTo>
                    <a:pt x="3175" y="0"/>
                    <a:pt x="0" y="3175"/>
                    <a:pt x="0" y="6878"/>
                  </a:cubicBezTo>
                  <a:cubicBezTo>
                    <a:pt x="0" y="10582"/>
                    <a:pt x="3175" y="13757"/>
                    <a:pt x="6878" y="13757"/>
                  </a:cubicBezTo>
                  <a:cubicBezTo>
                    <a:pt x="10582" y="13757"/>
                    <a:pt x="13757" y="10582"/>
                    <a:pt x="13757" y="6878"/>
                  </a:cubicBezTo>
                  <a:cubicBezTo>
                    <a:pt x="13757" y="3175"/>
                    <a:pt x="10053" y="0"/>
                    <a:pt x="6878" y="0"/>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4" name="Google Shape;315;p14"/>
            <p:cNvSpPr/>
            <p:nvPr/>
          </p:nvSpPr>
          <p:spPr>
            <a:xfrm>
              <a:off x="3247621" y="5888168"/>
              <a:ext cx="89950" cy="89950"/>
            </a:xfrm>
            <a:custGeom>
              <a:avLst/>
              <a:gdLst/>
              <a:ahLst/>
              <a:cxnLst/>
              <a:rect l="l" t="t" r="r" b="b"/>
              <a:pathLst>
                <a:path w="89950" h="89950" extrusionOk="0">
                  <a:moveTo>
                    <a:pt x="43256" y="19445"/>
                  </a:moveTo>
                  <a:cubicBezTo>
                    <a:pt x="43256" y="17858"/>
                    <a:pt x="42726" y="15742"/>
                    <a:pt x="41668" y="14154"/>
                  </a:cubicBezTo>
                  <a:lnTo>
                    <a:pt x="29498" y="1984"/>
                  </a:lnTo>
                  <a:cubicBezTo>
                    <a:pt x="26853" y="-661"/>
                    <a:pt x="22620" y="-661"/>
                    <a:pt x="20503" y="1984"/>
                  </a:cubicBezTo>
                  <a:lnTo>
                    <a:pt x="1984" y="20503"/>
                  </a:lnTo>
                  <a:cubicBezTo>
                    <a:pt x="-661" y="23149"/>
                    <a:pt x="-661" y="27382"/>
                    <a:pt x="1984" y="29499"/>
                  </a:cubicBezTo>
                  <a:lnTo>
                    <a:pt x="14154" y="41668"/>
                  </a:lnTo>
                  <a:cubicBezTo>
                    <a:pt x="15212" y="42727"/>
                    <a:pt x="17329" y="43785"/>
                    <a:pt x="18916" y="43785"/>
                  </a:cubicBezTo>
                  <a:cubicBezTo>
                    <a:pt x="19445" y="43785"/>
                    <a:pt x="19445" y="43785"/>
                    <a:pt x="19974" y="43785"/>
                  </a:cubicBezTo>
                  <a:lnTo>
                    <a:pt x="58071" y="86114"/>
                  </a:lnTo>
                  <a:cubicBezTo>
                    <a:pt x="61775" y="89818"/>
                    <a:pt x="67066" y="91934"/>
                    <a:pt x="71828" y="91934"/>
                  </a:cubicBezTo>
                  <a:cubicBezTo>
                    <a:pt x="76590" y="91934"/>
                    <a:pt x="81881" y="89818"/>
                    <a:pt x="85585" y="86114"/>
                  </a:cubicBezTo>
                  <a:cubicBezTo>
                    <a:pt x="92993" y="78706"/>
                    <a:pt x="92993" y="66008"/>
                    <a:pt x="85585" y="58600"/>
                  </a:cubicBezTo>
                  <a:lnTo>
                    <a:pt x="43256" y="19445"/>
                  </a:lnTo>
                  <a:close/>
                  <a:moveTo>
                    <a:pt x="24737" y="15742"/>
                  </a:moveTo>
                  <a:lnTo>
                    <a:pt x="27911" y="18916"/>
                  </a:lnTo>
                  <a:lnTo>
                    <a:pt x="18916" y="27911"/>
                  </a:lnTo>
                  <a:lnTo>
                    <a:pt x="15741" y="24737"/>
                  </a:lnTo>
                  <a:lnTo>
                    <a:pt x="24737" y="15742"/>
                  </a:lnTo>
                  <a:close/>
                  <a:moveTo>
                    <a:pt x="76061" y="76061"/>
                  </a:moveTo>
                  <a:cubicBezTo>
                    <a:pt x="73415" y="78706"/>
                    <a:pt x="69182" y="78706"/>
                    <a:pt x="67066" y="76061"/>
                  </a:cubicBezTo>
                  <a:lnTo>
                    <a:pt x="29498" y="34790"/>
                  </a:lnTo>
                  <a:lnTo>
                    <a:pt x="35319" y="28970"/>
                  </a:lnTo>
                  <a:lnTo>
                    <a:pt x="76061" y="66537"/>
                  </a:lnTo>
                  <a:cubicBezTo>
                    <a:pt x="78706" y="69712"/>
                    <a:pt x="78706" y="73945"/>
                    <a:pt x="76061" y="76061"/>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5" name="Google Shape;316;p14"/>
            <p:cNvSpPr/>
            <p:nvPr/>
          </p:nvSpPr>
          <p:spPr>
            <a:xfrm>
              <a:off x="3084521" y="5816018"/>
              <a:ext cx="10582" cy="42330"/>
            </a:xfrm>
            <a:custGeom>
              <a:avLst/>
              <a:gdLst/>
              <a:ahLst/>
              <a:cxnLst/>
              <a:rect l="l" t="t" r="r" b="b"/>
              <a:pathLst>
                <a:path w="10582" h="42329" extrusionOk="0">
                  <a:moveTo>
                    <a:pt x="0" y="6408"/>
                  </a:moveTo>
                  <a:lnTo>
                    <a:pt x="0" y="36567"/>
                  </a:lnTo>
                  <a:cubicBezTo>
                    <a:pt x="0" y="40271"/>
                    <a:pt x="2646" y="42917"/>
                    <a:pt x="6349" y="42917"/>
                  </a:cubicBezTo>
                  <a:cubicBezTo>
                    <a:pt x="10053" y="42917"/>
                    <a:pt x="12699" y="40271"/>
                    <a:pt x="12699" y="36567"/>
                  </a:cubicBezTo>
                  <a:lnTo>
                    <a:pt x="12699" y="6408"/>
                  </a:lnTo>
                  <a:cubicBezTo>
                    <a:pt x="12699" y="2703"/>
                    <a:pt x="10053" y="58"/>
                    <a:pt x="6349" y="58"/>
                  </a:cubicBezTo>
                  <a:cubicBezTo>
                    <a:pt x="3175" y="-471"/>
                    <a:pt x="0" y="2703"/>
                    <a:pt x="0" y="6408"/>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6" name="Google Shape;317;p14"/>
            <p:cNvSpPr/>
            <p:nvPr/>
          </p:nvSpPr>
          <p:spPr>
            <a:xfrm>
              <a:off x="3114680" y="5785916"/>
              <a:ext cx="10582" cy="68785"/>
            </a:xfrm>
            <a:custGeom>
              <a:avLst/>
              <a:gdLst/>
              <a:ahLst/>
              <a:cxnLst/>
              <a:rect l="l" t="t" r="r" b="b"/>
              <a:pathLst>
                <a:path w="10582" h="68785" extrusionOk="0">
                  <a:moveTo>
                    <a:pt x="0" y="6349"/>
                  </a:moveTo>
                  <a:lnTo>
                    <a:pt x="0" y="66669"/>
                  </a:lnTo>
                  <a:cubicBezTo>
                    <a:pt x="0" y="70373"/>
                    <a:pt x="2646" y="73019"/>
                    <a:pt x="6349" y="73019"/>
                  </a:cubicBezTo>
                  <a:cubicBezTo>
                    <a:pt x="10053" y="73019"/>
                    <a:pt x="12699" y="70373"/>
                    <a:pt x="12699" y="66669"/>
                  </a:cubicBezTo>
                  <a:lnTo>
                    <a:pt x="12699" y="6349"/>
                  </a:lnTo>
                  <a:cubicBezTo>
                    <a:pt x="12699" y="2646"/>
                    <a:pt x="10053" y="0"/>
                    <a:pt x="6349" y="0"/>
                  </a:cubicBezTo>
                  <a:cubicBezTo>
                    <a:pt x="2646" y="0"/>
                    <a:pt x="0" y="2646"/>
                    <a:pt x="0" y="6349"/>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67" name="Google Shape;318;p14"/>
            <p:cNvSpPr/>
            <p:nvPr/>
          </p:nvSpPr>
          <p:spPr>
            <a:xfrm>
              <a:off x="3145369" y="5740941"/>
              <a:ext cx="132280" cy="169318"/>
            </a:xfrm>
            <a:custGeom>
              <a:avLst/>
              <a:gdLst/>
              <a:ahLst/>
              <a:cxnLst/>
              <a:rect l="l" t="t" r="r" b="b"/>
              <a:pathLst>
                <a:path w="132279" h="169318" extrusionOk="0">
                  <a:moveTo>
                    <a:pt x="128576" y="117464"/>
                  </a:moveTo>
                  <a:cubicBezTo>
                    <a:pt x="131221" y="116406"/>
                    <a:pt x="133338" y="114290"/>
                    <a:pt x="133338" y="111644"/>
                  </a:cubicBezTo>
                  <a:lnTo>
                    <a:pt x="133338" y="51324"/>
                  </a:lnTo>
                  <a:cubicBezTo>
                    <a:pt x="133338" y="47621"/>
                    <a:pt x="130692" y="44975"/>
                    <a:pt x="126989" y="44975"/>
                  </a:cubicBezTo>
                  <a:cubicBezTo>
                    <a:pt x="123285" y="44975"/>
                    <a:pt x="120639" y="47621"/>
                    <a:pt x="120639" y="51324"/>
                  </a:cubicBezTo>
                  <a:lnTo>
                    <a:pt x="120639" y="79897"/>
                  </a:lnTo>
                  <a:cubicBezTo>
                    <a:pt x="116406" y="72489"/>
                    <a:pt x="110586" y="66140"/>
                    <a:pt x="103178" y="60849"/>
                  </a:cubicBezTo>
                  <a:lnTo>
                    <a:pt x="103178" y="21165"/>
                  </a:lnTo>
                  <a:cubicBezTo>
                    <a:pt x="103178" y="17461"/>
                    <a:pt x="100533" y="14816"/>
                    <a:pt x="96829" y="14816"/>
                  </a:cubicBezTo>
                  <a:cubicBezTo>
                    <a:pt x="93125" y="14816"/>
                    <a:pt x="90479" y="17461"/>
                    <a:pt x="90479" y="21165"/>
                  </a:cubicBezTo>
                  <a:lnTo>
                    <a:pt x="90479" y="53441"/>
                  </a:lnTo>
                  <a:cubicBezTo>
                    <a:pt x="85188" y="51324"/>
                    <a:pt x="79368" y="50266"/>
                    <a:pt x="73018" y="49208"/>
                  </a:cubicBezTo>
                  <a:lnTo>
                    <a:pt x="73018" y="21165"/>
                  </a:lnTo>
                  <a:cubicBezTo>
                    <a:pt x="73018" y="17461"/>
                    <a:pt x="70373" y="14816"/>
                    <a:pt x="66669" y="14816"/>
                  </a:cubicBezTo>
                  <a:cubicBezTo>
                    <a:pt x="62965" y="14816"/>
                    <a:pt x="60319" y="17461"/>
                    <a:pt x="60319" y="21165"/>
                  </a:cubicBezTo>
                  <a:lnTo>
                    <a:pt x="60319" y="49208"/>
                  </a:lnTo>
                  <a:cubicBezTo>
                    <a:pt x="54499" y="49737"/>
                    <a:pt x="48679" y="51324"/>
                    <a:pt x="42859" y="53441"/>
                  </a:cubicBezTo>
                  <a:lnTo>
                    <a:pt x="42859" y="6349"/>
                  </a:lnTo>
                  <a:cubicBezTo>
                    <a:pt x="42859" y="2646"/>
                    <a:pt x="40213" y="0"/>
                    <a:pt x="36509" y="0"/>
                  </a:cubicBezTo>
                  <a:cubicBezTo>
                    <a:pt x="32805" y="0"/>
                    <a:pt x="30160" y="2646"/>
                    <a:pt x="30160" y="6349"/>
                  </a:cubicBezTo>
                  <a:lnTo>
                    <a:pt x="30160" y="60849"/>
                  </a:lnTo>
                  <a:cubicBezTo>
                    <a:pt x="23281" y="66140"/>
                    <a:pt x="17461" y="72489"/>
                    <a:pt x="12699" y="79897"/>
                  </a:cubicBezTo>
                  <a:lnTo>
                    <a:pt x="12699" y="66669"/>
                  </a:lnTo>
                  <a:cubicBezTo>
                    <a:pt x="12699" y="62965"/>
                    <a:pt x="10053" y="60320"/>
                    <a:pt x="6349" y="60320"/>
                  </a:cubicBezTo>
                  <a:cubicBezTo>
                    <a:pt x="2646" y="60320"/>
                    <a:pt x="0" y="62965"/>
                    <a:pt x="0" y="66669"/>
                  </a:cubicBezTo>
                  <a:lnTo>
                    <a:pt x="0" y="111644"/>
                  </a:lnTo>
                  <a:cubicBezTo>
                    <a:pt x="0" y="114290"/>
                    <a:pt x="2116" y="116935"/>
                    <a:pt x="4762" y="117464"/>
                  </a:cubicBezTo>
                  <a:cubicBezTo>
                    <a:pt x="7937" y="149211"/>
                    <a:pt x="34393" y="174080"/>
                    <a:pt x="67198" y="174080"/>
                  </a:cubicBezTo>
                  <a:cubicBezTo>
                    <a:pt x="98945" y="174080"/>
                    <a:pt x="125401" y="149211"/>
                    <a:pt x="128576" y="117464"/>
                  </a:cubicBezTo>
                  <a:close/>
                  <a:moveTo>
                    <a:pt x="66140" y="161381"/>
                  </a:moveTo>
                  <a:cubicBezTo>
                    <a:pt x="38626" y="161381"/>
                    <a:pt x="16403" y="139159"/>
                    <a:pt x="16403" y="111644"/>
                  </a:cubicBezTo>
                  <a:cubicBezTo>
                    <a:pt x="16403" y="98416"/>
                    <a:pt x="21694" y="86776"/>
                    <a:pt x="29631" y="77780"/>
                  </a:cubicBezTo>
                  <a:lnTo>
                    <a:pt x="29631" y="111644"/>
                  </a:lnTo>
                  <a:cubicBezTo>
                    <a:pt x="29631" y="115348"/>
                    <a:pt x="32276" y="117994"/>
                    <a:pt x="35980" y="117994"/>
                  </a:cubicBezTo>
                  <a:cubicBezTo>
                    <a:pt x="39684" y="117994"/>
                    <a:pt x="42330" y="115348"/>
                    <a:pt x="42330" y="111644"/>
                  </a:cubicBezTo>
                  <a:lnTo>
                    <a:pt x="42330" y="67727"/>
                  </a:lnTo>
                  <a:cubicBezTo>
                    <a:pt x="47621" y="65082"/>
                    <a:pt x="53441" y="62965"/>
                    <a:pt x="59790" y="61907"/>
                  </a:cubicBezTo>
                  <a:lnTo>
                    <a:pt x="59790" y="111115"/>
                  </a:lnTo>
                  <a:cubicBezTo>
                    <a:pt x="59790" y="114819"/>
                    <a:pt x="62436" y="117464"/>
                    <a:pt x="66140" y="117464"/>
                  </a:cubicBezTo>
                  <a:cubicBezTo>
                    <a:pt x="69843" y="117464"/>
                    <a:pt x="72489" y="114819"/>
                    <a:pt x="72489" y="111115"/>
                  </a:cubicBezTo>
                  <a:lnTo>
                    <a:pt x="72489" y="61907"/>
                  </a:lnTo>
                  <a:cubicBezTo>
                    <a:pt x="78839" y="62965"/>
                    <a:pt x="84659" y="64552"/>
                    <a:pt x="89950" y="67727"/>
                  </a:cubicBezTo>
                  <a:lnTo>
                    <a:pt x="89950" y="111644"/>
                  </a:lnTo>
                  <a:cubicBezTo>
                    <a:pt x="89950" y="115348"/>
                    <a:pt x="92596" y="117994"/>
                    <a:pt x="96299" y="117994"/>
                  </a:cubicBezTo>
                  <a:cubicBezTo>
                    <a:pt x="100003" y="117994"/>
                    <a:pt x="102649" y="115348"/>
                    <a:pt x="102649" y="111644"/>
                  </a:cubicBezTo>
                  <a:lnTo>
                    <a:pt x="102649" y="77780"/>
                  </a:lnTo>
                  <a:cubicBezTo>
                    <a:pt x="110586" y="86776"/>
                    <a:pt x="115877" y="98416"/>
                    <a:pt x="115877" y="111644"/>
                  </a:cubicBezTo>
                  <a:cubicBezTo>
                    <a:pt x="116406" y="138629"/>
                    <a:pt x="93654" y="161381"/>
                    <a:pt x="66140" y="161381"/>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68" name="Google Shape;1948;p23"/>
          <p:cNvSpPr/>
          <p:nvPr/>
        </p:nvSpPr>
        <p:spPr>
          <a:xfrm>
            <a:off x="2855640" y="1927959"/>
            <a:ext cx="627526" cy="627359"/>
          </a:xfrm>
          <a:custGeom>
            <a:avLst/>
            <a:gdLst/>
            <a:ahLst/>
            <a:cxnLst/>
            <a:rect l="l" t="t" r="r" b="b"/>
            <a:pathLst>
              <a:path w="736641" h="736444" extrusionOk="0">
                <a:moveTo>
                  <a:pt x="368321" y="0"/>
                </a:moveTo>
                <a:cubicBezTo>
                  <a:pt x="165109" y="0"/>
                  <a:pt x="0" y="165065"/>
                  <a:pt x="0" y="368222"/>
                </a:cubicBezTo>
                <a:cubicBezTo>
                  <a:pt x="0" y="571380"/>
                  <a:pt x="165109" y="736445"/>
                  <a:pt x="368321" y="736445"/>
                </a:cubicBezTo>
                <a:cubicBezTo>
                  <a:pt x="571532" y="736445"/>
                  <a:pt x="736642" y="571380"/>
                  <a:pt x="736642" y="368222"/>
                </a:cubicBezTo>
                <a:cubicBezTo>
                  <a:pt x="737912" y="165065"/>
                  <a:pt x="571532" y="0"/>
                  <a:pt x="368321" y="0"/>
                </a:cubicBezTo>
                <a:close/>
                <a:moveTo>
                  <a:pt x="368321" y="707240"/>
                </a:moveTo>
                <a:cubicBezTo>
                  <a:pt x="181620" y="707240"/>
                  <a:pt x="30482" y="554872"/>
                  <a:pt x="30482" y="369492"/>
                </a:cubicBezTo>
                <a:cubicBezTo>
                  <a:pt x="30482" y="182840"/>
                  <a:pt x="182890" y="31743"/>
                  <a:pt x="368321" y="31743"/>
                </a:cubicBezTo>
                <a:cubicBezTo>
                  <a:pt x="553751" y="31743"/>
                  <a:pt x="706160" y="184111"/>
                  <a:pt x="706160" y="369492"/>
                </a:cubicBezTo>
                <a:cubicBezTo>
                  <a:pt x="707430" y="554872"/>
                  <a:pt x="555021" y="707240"/>
                  <a:pt x="368321" y="707240"/>
                </a:cubicBezTo>
                <a:close/>
                <a:moveTo>
                  <a:pt x="368321" y="68564"/>
                </a:moveTo>
                <a:cubicBezTo>
                  <a:pt x="203212" y="68564"/>
                  <a:pt x="68584" y="203157"/>
                  <a:pt x="68584" y="368222"/>
                </a:cubicBezTo>
                <a:cubicBezTo>
                  <a:pt x="68584" y="533288"/>
                  <a:pt x="203212" y="667879"/>
                  <a:pt x="368321" y="667879"/>
                </a:cubicBezTo>
                <a:cubicBezTo>
                  <a:pt x="533430" y="667879"/>
                  <a:pt x="668058" y="533288"/>
                  <a:pt x="668058" y="368222"/>
                </a:cubicBezTo>
                <a:cubicBezTo>
                  <a:pt x="668058" y="203157"/>
                  <a:pt x="533430" y="68564"/>
                  <a:pt x="368321" y="68564"/>
                </a:cubicBezTo>
                <a:close/>
                <a:moveTo>
                  <a:pt x="368321" y="638674"/>
                </a:moveTo>
                <a:cubicBezTo>
                  <a:pt x="219722" y="638674"/>
                  <a:pt x="99065" y="518050"/>
                  <a:pt x="99065" y="369492"/>
                </a:cubicBezTo>
                <a:cubicBezTo>
                  <a:pt x="99065" y="220932"/>
                  <a:pt x="219722" y="100308"/>
                  <a:pt x="368321" y="100308"/>
                </a:cubicBezTo>
                <a:cubicBezTo>
                  <a:pt x="516919" y="100308"/>
                  <a:pt x="637576" y="220932"/>
                  <a:pt x="637576" y="369492"/>
                </a:cubicBezTo>
                <a:cubicBezTo>
                  <a:pt x="637576" y="516780"/>
                  <a:pt x="516919" y="638674"/>
                  <a:pt x="368321" y="638674"/>
                </a:cubicBezTo>
                <a:close/>
                <a:moveTo>
                  <a:pt x="514379" y="387268"/>
                </a:moveTo>
                <a:cubicBezTo>
                  <a:pt x="514379" y="396156"/>
                  <a:pt x="508029" y="402505"/>
                  <a:pt x="499138" y="402505"/>
                </a:cubicBezTo>
                <a:cubicBezTo>
                  <a:pt x="499138" y="402505"/>
                  <a:pt x="499138" y="402505"/>
                  <a:pt x="499138" y="402505"/>
                </a:cubicBezTo>
                <a:lnTo>
                  <a:pt x="349270" y="402505"/>
                </a:lnTo>
                <a:cubicBezTo>
                  <a:pt x="348000" y="402505"/>
                  <a:pt x="348000" y="402505"/>
                  <a:pt x="346729" y="402505"/>
                </a:cubicBezTo>
                <a:cubicBezTo>
                  <a:pt x="345460" y="402505"/>
                  <a:pt x="344189" y="402505"/>
                  <a:pt x="342919" y="401235"/>
                </a:cubicBezTo>
                <a:cubicBezTo>
                  <a:pt x="342919" y="401235"/>
                  <a:pt x="341649" y="401235"/>
                  <a:pt x="341649" y="399966"/>
                </a:cubicBezTo>
                <a:cubicBezTo>
                  <a:pt x="340379" y="398695"/>
                  <a:pt x="339109" y="398695"/>
                  <a:pt x="337839" y="397425"/>
                </a:cubicBezTo>
                <a:cubicBezTo>
                  <a:pt x="336569" y="396156"/>
                  <a:pt x="336569" y="396156"/>
                  <a:pt x="336569" y="394886"/>
                </a:cubicBezTo>
                <a:cubicBezTo>
                  <a:pt x="336569" y="393617"/>
                  <a:pt x="335299" y="393617"/>
                  <a:pt x="335299" y="392346"/>
                </a:cubicBezTo>
                <a:cubicBezTo>
                  <a:pt x="335299" y="391077"/>
                  <a:pt x="335299" y="389807"/>
                  <a:pt x="334029" y="388538"/>
                </a:cubicBezTo>
                <a:cubicBezTo>
                  <a:pt x="334029" y="387268"/>
                  <a:pt x="334029" y="387268"/>
                  <a:pt x="334029" y="385997"/>
                </a:cubicBezTo>
                <a:lnTo>
                  <a:pt x="334029" y="192999"/>
                </a:lnTo>
                <a:cubicBezTo>
                  <a:pt x="334029" y="184111"/>
                  <a:pt x="340379" y="177763"/>
                  <a:pt x="349270" y="177763"/>
                </a:cubicBezTo>
                <a:cubicBezTo>
                  <a:pt x="358160" y="177763"/>
                  <a:pt x="364511" y="184111"/>
                  <a:pt x="364511" y="192999"/>
                </a:cubicBezTo>
                <a:lnTo>
                  <a:pt x="364511" y="370761"/>
                </a:lnTo>
                <a:lnTo>
                  <a:pt x="499138" y="370761"/>
                </a:lnTo>
                <a:cubicBezTo>
                  <a:pt x="506759" y="372031"/>
                  <a:pt x="514379" y="379649"/>
                  <a:pt x="514379" y="387268"/>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nvGrpSpPr>
          <p:cNvPr id="69" name="Google Shape;14423;p145"/>
          <p:cNvGrpSpPr/>
          <p:nvPr/>
        </p:nvGrpSpPr>
        <p:grpSpPr>
          <a:xfrm>
            <a:off x="4799856" y="1909712"/>
            <a:ext cx="576064" cy="573598"/>
            <a:chOff x="7559858" y="5543081"/>
            <a:chExt cx="543772" cy="541445"/>
          </a:xfrm>
          <a:solidFill>
            <a:schemeClr val="bg1"/>
          </a:solidFill>
        </p:grpSpPr>
        <p:sp>
          <p:nvSpPr>
            <p:cNvPr id="70" name="Google Shape;14424;p145"/>
            <p:cNvSpPr/>
            <p:nvPr/>
          </p:nvSpPr>
          <p:spPr>
            <a:xfrm>
              <a:off x="7559858" y="5543081"/>
              <a:ext cx="543772" cy="541445"/>
            </a:xfrm>
            <a:custGeom>
              <a:avLst/>
              <a:gdLst/>
              <a:ahLst/>
              <a:cxnLst/>
              <a:rect l="l" t="t" r="r" b="b"/>
              <a:pathLst>
                <a:path w="543772" h="541445" extrusionOk="0">
                  <a:moveTo>
                    <a:pt x="529006" y="310177"/>
                  </a:moveTo>
                  <a:lnTo>
                    <a:pt x="506800" y="310177"/>
                  </a:lnTo>
                  <a:lnTo>
                    <a:pt x="506800" y="256016"/>
                  </a:lnTo>
                  <a:cubicBezTo>
                    <a:pt x="507787" y="227383"/>
                    <a:pt x="486306" y="202934"/>
                    <a:pt x="457784" y="200230"/>
                  </a:cubicBezTo>
                  <a:lnTo>
                    <a:pt x="52658" y="200230"/>
                  </a:lnTo>
                  <a:cubicBezTo>
                    <a:pt x="34336" y="195218"/>
                    <a:pt x="23546" y="176303"/>
                    <a:pt x="28558" y="157982"/>
                  </a:cubicBezTo>
                  <a:cubicBezTo>
                    <a:pt x="31766" y="146253"/>
                    <a:pt x="40929" y="137091"/>
                    <a:pt x="52658" y="133882"/>
                  </a:cubicBezTo>
                  <a:lnTo>
                    <a:pt x="101944" y="133882"/>
                  </a:lnTo>
                  <a:lnTo>
                    <a:pt x="86508" y="148235"/>
                  </a:lnTo>
                  <a:cubicBezTo>
                    <a:pt x="80975" y="153264"/>
                    <a:pt x="80565" y="161828"/>
                    <a:pt x="85595" y="167362"/>
                  </a:cubicBezTo>
                  <a:cubicBezTo>
                    <a:pt x="88185" y="170211"/>
                    <a:pt x="91865" y="171823"/>
                    <a:pt x="95716" y="171795"/>
                  </a:cubicBezTo>
                  <a:cubicBezTo>
                    <a:pt x="99149" y="171720"/>
                    <a:pt x="102432" y="170368"/>
                    <a:pt x="104923" y="168004"/>
                  </a:cubicBezTo>
                  <a:lnTo>
                    <a:pt x="146356" y="130091"/>
                  </a:lnTo>
                  <a:lnTo>
                    <a:pt x="146356" y="130091"/>
                  </a:lnTo>
                  <a:lnTo>
                    <a:pt x="253054" y="32059"/>
                  </a:lnTo>
                  <a:lnTo>
                    <a:pt x="370043" y="157442"/>
                  </a:lnTo>
                  <a:cubicBezTo>
                    <a:pt x="375203" y="162902"/>
                    <a:pt x="383811" y="163144"/>
                    <a:pt x="389270" y="157984"/>
                  </a:cubicBezTo>
                  <a:cubicBezTo>
                    <a:pt x="394729" y="152824"/>
                    <a:pt x="394971" y="144216"/>
                    <a:pt x="389811" y="138757"/>
                  </a:cubicBezTo>
                  <a:lnTo>
                    <a:pt x="385208" y="133882"/>
                  </a:lnTo>
                  <a:lnTo>
                    <a:pt x="412288" y="133882"/>
                  </a:lnTo>
                  <a:cubicBezTo>
                    <a:pt x="429528" y="137045"/>
                    <a:pt x="441367" y="153028"/>
                    <a:pt x="439369" y="170441"/>
                  </a:cubicBezTo>
                  <a:cubicBezTo>
                    <a:pt x="439369" y="177919"/>
                    <a:pt x="445431" y="183981"/>
                    <a:pt x="452909" y="183981"/>
                  </a:cubicBezTo>
                  <a:cubicBezTo>
                    <a:pt x="460388" y="183981"/>
                    <a:pt x="466450" y="177919"/>
                    <a:pt x="466450" y="170441"/>
                  </a:cubicBezTo>
                  <a:cubicBezTo>
                    <a:pt x="468501" y="138097"/>
                    <a:pt x="444544" y="109948"/>
                    <a:pt x="412288" y="106801"/>
                  </a:cubicBezTo>
                  <a:lnTo>
                    <a:pt x="358127" y="106801"/>
                  </a:lnTo>
                  <a:lnTo>
                    <a:pt x="261720" y="3895"/>
                  </a:lnTo>
                  <a:cubicBezTo>
                    <a:pt x="256363" y="-1298"/>
                    <a:pt x="247850" y="-1298"/>
                    <a:pt x="242493" y="3895"/>
                  </a:cubicBezTo>
                  <a:lnTo>
                    <a:pt x="130921" y="106531"/>
                  </a:lnTo>
                  <a:lnTo>
                    <a:pt x="52658" y="106531"/>
                  </a:lnTo>
                  <a:cubicBezTo>
                    <a:pt x="21546" y="108842"/>
                    <a:pt x="-1896" y="135788"/>
                    <a:pt x="121" y="166920"/>
                  </a:cubicBezTo>
                  <a:cubicBezTo>
                    <a:pt x="121" y="166920"/>
                    <a:pt x="121" y="168816"/>
                    <a:pt x="121" y="169899"/>
                  </a:cubicBezTo>
                  <a:lnTo>
                    <a:pt x="121" y="169899"/>
                  </a:lnTo>
                  <a:lnTo>
                    <a:pt x="121" y="485660"/>
                  </a:lnTo>
                  <a:cubicBezTo>
                    <a:pt x="-877" y="514197"/>
                    <a:pt x="20452" y="538608"/>
                    <a:pt x="48866" y="541446"/>
                  </a:cubicBezTo>
                  <a:lnTo>
                    <a:pt x="458867" y="541446"/>
                  </a:lnTo>
                  <a:cubicBezTo>
                    <a:pt x="487389" y="538741"/>
                    <a:pt x="508871" y="514292"/>
                    <a:pt x="507883" y="485660"/>
                  </a:cubicBezTo>
                  <a:lnTo>
                    <a:pt x="507883" y="420395"/>
                  </a:lnTo>
                  <a:lnTo>
                    <a:pt x="530089" y="420395"/>
                  </a:lnTo>
                  <a:cubicBezTo>
                    <a:pt x="537568" y="420395"/>
                    <a:pt x="543630" y="414333"/>
                    <a:pt x="543630" y="406855"/>
                  </a:cubicBezTo>
                  <a:lnTo>
                    <a:pt x="543630" y="325613"/>
                  </a:lnTo>
                  <a:cubicBezTo>
                    <a:pt x="544707" y="318213"/>
                    <a:pt x="539582" y="311340"/>
                    <a:pt x="532182" y="310263"/>
                  </a:cubicBezTo>
                  <a:cubicBezTo>
                    <a:pt x="531131" y="310110"/>
                    <a:pt x="530065" y="310081"/>
                    <a:pt x="529006" y="310177"/>
                  </a:cubicBezTo>
                  <a:close/>
                  <a:moveTo>
                    <a:pt x="479719" y="485660"/>
                  </a:moveTo>
                  <a:cubicBezTo>
                    <a:pt x="479719" y="501096"/>
                    <a:pt x="469699" y="514365"/>
                    <a:pt x="457784" y="514365"/>
                  </a:cubicBezTo>
                  <a:lnTo>
                    <a:pt x="48596" y="514365"/>
                  </a:lnTo>
                  <a:cubicBezTo>
                    <a:pt x="36951" y="514365"/>
                    <a:pt x="26931" y="501096"/>
                    <a:pt x="26931" y="485660"/>
                  </a:cubicBezTo>
                  <a:lnTo>
                    <a:pt x="26931" y="219457"/>
                  </a:lnTo>
                  <a:cubicBezTo>
                    <a:pt x="34366" y="224505"/>
                    <a:pt x="43130" y="227237"/>
                    <a:pt x="52115" y="227310"/>
                  </a:cubicBezTo>
                  <a:lnTo>
                    <a:pt x="458326" y="227311"/>
                  </a:lnTo>
                  <a:cubicBezTo>
                    <a:pt x="470241" y="227311"/>
                    <a:pt x="480261" y="240580"/>
                    <a:pt x="480261" y="256016"/>
                  </a:cubicBezTo>
                  <a:lnTo>
                    <a:pt x="480261" y="310177"/>
                  </a:lnTo>
                  <a:lnTo>
                    <a:pt x="422308" y="310177"/>
                  </a:lnTo>
                  <a:cubicBezTo>
                    <a:pt x="403164" y="310177"/>
                    <a:pt x="387645" y="325697"/>
                    <a:pt x="387645" y="344840"/>
                  </a:cubicBezTo>
                  <a:lnTo>
                    <a:pt x="387645" y="385190"/>
                  </a:lnTo>
                  <a:cubicBezTo>
                    <a:pt x="387645" y="404334"/>
                    <a:pt x="403165" y="419854"/>
                    <a:pt x="422308" y="419854"/>
                  </a:cubicBezTo>
                  <a:lnTo>
                    <a:pt x="480261" y="419854"/>
                  </a:lnTo>
                  <a:close/>
                  <a:moveTo>
                    <a:pt x="515466" y="393315"/>
                  </a:moveTo>
                  <a:lnTo>
                    <a:pt x="421767" y="393315"/>
                  </a:lnTo>
                  <a:cubicBezTo>
                    <a:pt x="417579" y="393315"/>
                    <a:pt x="414184" y="389920"/>
                    <a:pt x="414184" y="385732"/>
                  </a:cubicBezTo>
                  <a:lnTo>
                    <a:pt x="414184" y="344840"/>
                  </a:lnTo>
                  <a:cubicBezTo>
                    <a:pt x="414032" y="340805"/>
                    <a:pt x="417179" y="337410"/>
                    <a:pt x="421215" y="337258"/>
                  </a:cubicBezTo>
                  <a:cubicBezTo>
                    <a:pt x="421399" y="337251"/>
                    <a:pt x="421583" y="337251"/>
                    <a:pt x="421767" y="337258"/>
                  </a:cubicBezTo>
                  <a:lnTo>
                    <a:pt x="515466" y="337258"/>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1" name="Google Shape;14425;p145"/>
            <p:cNvSpPr/>
            <p:nvPr/>
          </p:nvSpPr>
          <p:spPr>
            <a:xfrm>
              <a:off x="7986499" y="5893335"/>
              <a:ext cx="27080" cy="27083"/>
            </a:xfrm>
            <a:custGeom>
              <a:avLst/>
              <a:gdLst/>
              <a:ahLst/>
              <a:cxnLst/>
              <a:rect l="l" t="t" r="r" b="b"/>
              <a:pathLst>
                <a:path w="27080" h="27083" extrusionOk="0">
                  <a:moveTo>
                    <a:pt x="13269" y="3"/>
                  </a:moveTo>
                  <a:cubicBezTo>
                    <a:pt x="5897" y="150"/>
                    <a:pt x="-2" y="6170"/>
                    <a:pt x="0" y="13543"/>
                  </a:cubicBezTo>
                  <a:cubicBezTo>
                    <a:pt x="0" y="21021"/>
                    <a:pt x="6062" y="27084"/>
                    <a:pt x="13540" y="27084"/>
                  </a:cubicBezTo>
                  <a:cubicBezTo>
                    <a:pt x="21019" y="27084"/>
                    <a:pt x="27081" y="21021"/>
                    <a:pt x="27081" y="13543"/>
                  </a:cubicBezTo>
                  <a:cubicBezTo>
                    <a:pt x="27082" y="6065"/>
                    <a:pt x="21021" y="2"/>
                    <a:pt x="13543" y="0"/>
                  </a:cubicBezTo>
                  <a:cubicBezTo>
                    <a:pt x="13452" y="0"/>
                    <a:pt x="13360" y="1"/>
                    <a:pt x="13269" y="3"/>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grpSp>
        <p:nvGrpSpPr>
          <p:cNvPr id="72" name="Google Shape;332;p14"/>
          <p:cNvGrpSpPr/>
          <p:nvPr/>
        </p:nvGrpSpPr>
        <p:grpSpPr>
          <a:xfrm>
            <a:off x="6662437" y="1954703"/>
            <a:ext cx="657699" cy="667869"/>
            <a:chOff x="5276661" y="5665807"/>
            <a:chExt cx="307947" cy="312709"/>
          </a:xfrm>
          <a:solidFill>
            <a:schemeClr val="bg1"/>
          </a:solidFill>
        </p:grpSpPr>
        <p:sp>
          <p:nvSpPr>
            <p:cNvPr id="73" name="Google Shape;333;p14"/>
            <p:cNvSpPr/>
            <p:nvPr/>
          </p:nvSpPr>
          <p:spPr>
            <a:xfrm>
              <a:off x="5276661" y="5665807"/>
              <a:ext cx="269851" cy="269851"/>
            </a:xfrm>
            <a:custGeom>
              <a:avLst/>
              <a:gdLst/>
              <a:ahLst/>
              <a:cxnLst/>
              <a:rect l="l" t="t" r="r" b="b"/>
              <a:pathLst>
                <a:path w="269850" h="269850" extrusionOk="0">
                  <a:moveTo>
                    <a:pt x="132280" y="257152"/>
                  </a:moveTo>
                  <a:lnTo>
                    <a:pt x="121168" y="257152"/>
                  </a:lnTo>
                  <a:lnTo>
                    <a:pt x="121168" y="239162"/>
                  </a:lnTo>
                  <a:cubicBezTo>
                    <a:pt x="121168" y="238104"/>
                    <a:pt x="120639" y="237045"/>
                    <a:pt x="120110" y="235987"/>
                  </a:cubicBezTo>
                  <a:cubicBezTo>
                    <a:pt x="120110" y="232812"/>
                    <a:pt x="117993" y="230167"/>
                    <a:pt x="114819" y="229108"/>
                  </a:cubicBezTo>
                  <a:cubicBezTo>
                    <a:pt x="102120" y="226463"/>
                    <a:pt x="89950" y="221700"/>
                    <a:pt x="79368" y="214293"/>
                  </a:cubicBezTo>
                  <a:cubicBezTo>
                    <a:pt x="76722" y="212706"/>
                    <a:pt x="73547" y="212706"/>
                    <a:pt x="70902" y="214822"/>
                  </a:cubicBezTo>
                  <a:lnTo>
                    <a:pt x="56086" y="229637"/>
                  </a:lnTo>
                  <a:lnTo>
                    <a:pt x="38097" y="211648"/>
                  </a:lnTo>
                  <a:lnTo>
                    <a:pt x="52912" y="196832"/>
                  </a:lnTo>
                  <a:cubicBezTo>
                    <a:pt x="55028" y="194715"/>
                    <a:pt x="55557" y="191012"/>
                    <a:pt x="53441" y="188366"/>
                  </a:cubicBezTo>
                  <a:cubicBezTo>
                    <a:pt x="46033" y="177255"/>
                    <a:pt x="40742" y="165085"/>
                    <a:pt x="38626" y="152386"/>
                  </a:cubicBezTo>
                  <a:cubicBezTo>
                    <a:pt x="38097" y="149211"/>
                    <a:pt x="35451" y="147095"/>
                    <a:pt x="32276" y="147095"/>
                  </a:cubicBezTo>
                  <a:lnTo>
                    <a:pt x="11111" y="147095"/>
                  </a:lnTo>
                  <a:lnTo>
                    <a:pt x="11111" y="121168"/>
                  </a:lnTo>
                  <a:lnTo>
                    <a:pt x="32276" y="121168"/>
                  </a:lnTo>
                  <a:cubicBezTo>
                    <a:pt x="35451" y="121168"/>
                    <a:pt x="38097" y="119052"/>
                    <a:pt x="38626" y="115877"/>
                  </a:cubicBezTo>
                  <a:cubicBezTo>
                    <a:pt x="41271" y="102649"/>
                    <a:pt x="46033" y="90479"/>
                    <a:pt x="53441" y="79897"/>
                  </a:cubicBezTo>
                  <a:cubicBezTo>
                    <a:pt x="55028" y="77251"/>
                    <a:pt x="55028" y="74077"/>
                    <a:pt x="52912" y="71431"/>
                  </a:cubicBezTo>
                  <a:lnTo>
                    <a:pt x="38097" y="56615"/>
                  </a:lnTo>
                  <a:lnTo>
                    <a:pt x="56086" y="38625"/>
                  </a:lnTo>
                  <a:lnTo>
                    <a:pt x="70902" y="53441"/>
                  </a:lnTo>
                  <a:cubicBezTo>
                    <a:pt x="73018" y="55557"/>
                    <a:pt x="76722" y="56086"/>
                    <a:pt x="79368" y="53970"/>
                  </a:cubicBezTo>
                  <a:cubicBezTo>
                    <a:pt x="90479" y="46562"/>
                    <a:pt x="102649" y="41271"/>
                    <a:pt x="115877" y="39154"/>
                  </a:cubicBezTo>
                  <a:cubicBezTo>
                    <a:pt x="119052" y="38625"/>
                    <a:pt x="121168" y="35980"/>
                    <a:pt x="121168" y="32805"/>
                  </a:cubicBezTo>
                  <a:lnTo>
                    <a:pt x="121168" y="11640"/>
                  </a:lnTo>
                  <a:lnTo>
                    <a:pt x="147095" y="11640"/>
                  </a:lnTo>
                  <a:lnTo>
                    <a:pt x="147095" y="32805"/>
                  </a:lnTo>
                  <a:cubicBezTo>
                    <a:pt x="147095" y="35980"/>
                    <a:pt x="149212" y="38625"/>
                    <a:pt x="152386" y="39154"/>
                  </a:cubicBezTo>
                  <a:cubicBezTo>
                    <a:pt x="165614" y="41800"/>
                    <a:pt x="177784" y="46562"/>
                    <a:pt x="188896" y="53970"/>
                  </a:cubicBezTo>
                  <a:cubicBezTo>
                    <a:pt x="191541" y="55557"/>
                    <a:pt x="194716" y="55557"/>
                    <a:pt x="197361" y="53441"/>
                  </a:cubicBezTo>
                  <a:lnTo>
                    <a:pt x="212177" y="38625"/>
                  </a:lnTo>
                  <a:lnTo>
                    <a:pt x="230166" y="56615"/>
                  </a:lnTo>
                  <a:lnTo>
                    <a:pt x="215352" y="71431"/>
                  </a:lnTo>
                  <a:cubicBezTo>
                    <a:pt x="213235" y="73547"/>
                    <a:pt x="212706" y="77251"/>
                    <a:pt x="214823" y="79897"/>
                  </a:cubicBezTo>
                  <a:cubicBezTo>
                    <a:pt x="222230" y="90479"/>
                    <a:pt x="226992" y="102649"/>
                    <a:pt x="229637" y="115348"/>
                  </a:cubicBezTo>
                  <a:cubicBezTo>
                    <a:pt x="230166" y="118522"/>
                    <a:pt x="233342" y="120639"/>
                    <a:pt x="236516" y="120639"/>
                  </a:cubicBezTo>
                  <a:cubicBezTo>
                    <a:pt x="237574" y="121168"/>
                    <a:pt x="238633" y="121697"/>
                    <a:pt x="239691" y="121697"/>
                  </a:cubicBezTo>
                  <a:lnTo>
                    <a:pt x="257681" y="121697"/>
                  </a:lnTo>
                  <a:lnTo>
                    <a:pt x="257681" y="132809"/>
                  </a:lnTo>
                  <a:cubicBezTo>
                    <a:pt x="257681" y="136512"/>
                    <a:pt x="260327" y="139158"/>
                    <a:pt x="264030" y="139158"/>
                  </a:cubicBezTo>
                  <a:cubicBezTo>
                    <a:pt x="267734" y="139158"/>
                    <a:pt x="270380" y="136512"/>
                    <a:pt x="270380" y="132809"/>
                  </a:cubicBezTo>
                  <a:lnTo>
                    <a:pt x="270380" y="115348"/>
                  </a:lnTo>
                  <a:cubicBezTo>
                    <a:pt x="270380" y="111644"/>
                    <a:pt x="267734" y="108998"/>
                    <a:pt x="264030" y="108998"/>
                  </a:cubicBezTo>
                  <a:lnTo>
                    <a:pt x="241278" y="108998"/>
                  </a:lnTo>
                  <a:cubicBezTo>
                    <a:pt x="238633" y="97887"/>
                    <a:pt x="234400" y="87305"/>
                    <a:pt x="228579" y="77780"/>
                  </a:cubicBezTo>
                  <a:lnTo>
                    <a:pt x="244453" y="61907"/>
                  </a:lnTo>
                  <a:cubicBezTo>
                    <a:pt x="247099" y="59261"/>
                    <a:pt x="247099" y="55028"/>
                    <a:pt x="244453" y="52912"/>
                  </a:cubicBezTo>
                  <a:lnTo>
                    <a:pt x="216938" y="25397"/>
                  </a:lnTo>
                  <a:cubicBezTo>
                    <a:pt x="214293" y="22752"/>
                    <a:pt x="210060" y="22752"/>
                    <a:pt x="207944" y="25397"/>
                  </a:cubicBezTo>
                  <a:lnTo>
                    <a:pt x="192070" y="41271"/>
                  </a:lnTo>
                  <a:cubicBezTo>
                    <a:pt x="182546" y="35451"/>
                    <a:pt x="171963" y="31218"/>
                    <a:pt x="160852" y="28572"/>
                  </a:cubicBezTo>
                  <a:lnTo>
                    <a:pt x="160852" y="6349"/>
                  </a:lnTo>
                  <a:cubicBezTo>
                    <a:pt x="160852" y="2646"/>
                    <a:pt x="158206" y="0"/>
                    <a:pt x="154503" y="0"/>
                  </a:cubicBezTo>
                  <a:lnTo>
                    <a:pt x="115877" y="0"/>
                  </a:lnTo>
                  <a:cubicBezTo>
                    <a:pt x="112173" y="0"/>
                    <a:pt x="109528" y="2646"/>
                    <a:pt x="109528" y="6349"/>
                  </a:cubicBezTo>
                  <a:lnTo>
                    <a:pt x="109528" y="28572"/>
                  </a:lnTo>
                  <a:cubicBezTo>
                    <a:pt x="98416" y="31218"/>
                    <a:pt x="87834" y="35451"/>
                    <a:pt x="78310" y="41271"/>
                  </a:cubicBezTo>
                  <a:lnTo>
                    <a:pt x="62436" y="25397"/>
                  </a:lnTo>
                  <a:cubicBezTo>
                    <a:pt x="61378" y="24339"/>
                    <a:pt x="59790" y="23281"/>
                    <a:pt x="57674" y="23281"/>
                  </a:cubicBezTo>
                  <a:cubicBezTo>
                    <a:pt x="56086" y="23281"/>
                    <a:pt x="54499" y="23810"/>
                    <a:pt x="52912" y="25397"/>
                  </a:cubicBezTo>
                  <a:lnTo>
                    <a:pt x="25398" y="52912"/>
                  </a:lnTo>
                  <a:cubicBezTo>
                    <a:pt x="24339" y="53970"/>
                    <a:pt x="23281" y="55557"/>
                    <a:pt x="23281" y="57673"/>
                  </a:cubicBezTo>
                  <a:cubicBezTo>
                    <a:pt x="23281" y="59790"/>
                    <a:pt x="23810" y="60849"/>
                    <a:pt x="25398" y="62436"/>
                  </a:cubicBezTo>
                  <a:lnTo>
                    <a:pt x="41271" y="78309"/>
                  </a:lnTo>
                  <a:cubicBezTo>
                    <a:pt x="35451" y="87834"/>
                    <a:pt x="31218" y="98416"/>
                    <a:pt x="28572" y="109527"/>
                  </a:cubicBezTo>
                  <a:lnTo>
                    <a:pt x="6349" y="109527"/>
                  </a:lnTo>
                  <a:cubicBezTo>
                    <a:pt x="2646" y="109527"/>
                    <a:pt x="0" y="112173"/>
                    <a:pt x="0" y="115877"/>
                  </a:cubicBezTo>
                  <a:lnTo>
                    <a:pt x="0" y="154503"/>
                  </a:lnTo>
                  <a:cubicBezTo>
                    <a:pt x="0" y="158206"/>
                    <a:pt x="2646" y="160852"/>
                    <a:pt x="6349" y="160852"/>
                  </a:cubicBezTo>
                  <a:lnTo>
                    <a:pt x="28572" y="160852"/>
                  </a:lnTo>
                  <a:cubicBezTo>
                    <a:pt x="31218" y="171964"/>
                    <a:pt x="35451" y="182546"/>
                    <a:pt x="41271" y="192070"/>
                  </a:cubicBezTo>
                  <a:lnTo>
                    <a:pt x="25398" y="207943"/>
                  </a:lnTo>
                  <a:cubicBezTo>
                    <a:pt x="22752" y="210589"/>
                    <a:pt x="22752" y="214822"/>
                    <a:pt x="25398" y="216939"/>
                  </a:cubicBezTo>
                  <a:lnTo>
                    <a:pt x="52912" y="244453"/>
                  </a:lnTo>
                  <a:cubicBezTo>
                    <a:pt x="53970" y="245511"/>
                    <a:pt x="56086" y="246569"/>
                    <a:pt x="57674" y="246569"/>
                  </a:cubicBezTo>
                  <a:cubicBezTo>
                    <a:pt x="59261" y="246569"/>
                    <a:pt x="60849" y="246040"/>
                    <a:pt x="62436" y="244453"/>
                  </a:cubicBezTo>
                  <a:lnTo>
                    <a:pt x="78310" y="228579"/>
                  </a:lnTo>
                  <a:cubicBezTo>
                    <a:pt x="87834" y="234399"/>
                    <a:pt x="98416" y="238633"/>
                    <a:pt x="109528" y="241278"/>
                  </a:cubicBezTo>
                  <a:lnTo>
                    <a:pt x="109528" y="264030"/>
                  </a:lnTo>
                  <a:cubicBezTo>
                    <a:pt x="109528" y="267734"/>
                    <a:pt x="112173" y="270380"/>
                    <a:pt x="115877" y="270380"/>
                  </a:cubicBezTo>
                  <a:lnTo>
                    <a:pt x="133338" y="270380"/>
                  </a:lnTo>
                  <a:cubicBezTo>
                    <a:pt x="137042" y="270380"/>
                    <a:pt x="139687" y="267734"/>
                    <a:pt x="139687" y="264030"/>
                  </a:cubicBezTo>
                  <a:cubicBezTo>
                    <a:pt x="139687" y="260326"/>
                    <a:pt x="135984" y="257152"/>
                    <a:pt x="132280" y="257152"/>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4" name="Google Shape;334;p14"/>
            <p:cNvSpPr/>
            <p:nvPr/>
          </p:nvSpPr>
          <p:spPr>
            <a:xfrm>
              <a:off x="5339626" y="5729830"/>
              <a:ext cx="137571" cy="137571"/>
            </a:xfrm>
            <a:custGeom>
              <a:avLst/>
              <a:gdLst/>
              <a:ahLst/>
              <a:cxnLst/>
              <a:rect l="l" t="t" r="r" b="b"/>
              <a:pathLst>
                <a:path w="137570" h="137570" extrusionOk="0">
                  <a:moveTo>
                    <a:pt x="70902" y="12699"/>
                  </a:moveTo>
                  <a:cubicBezTo>
                    <a:pt x="96829" y="12699"/>
                    <a:pt x="119581" y="30160"/>
                    <a:pt x="126460" y="55557"/>
                  </a:cubicBezTo>
                  <a:cubicBezTo>
                    <a:pt x="127518" y="59261"/>
                    <a:pt x="130693" y="60849"/>
                    <a:pt x="134396" y="60320"/>
                  </a:cubicBezTo>
                  <a:cubicBezTo>
                    <a:pt x="137571" y="59261"/>
                    <a:pt x="139688" y="55557"/>
                    <a:pt x="139159" y="52383"/>
                  </a:cubicBezTo>
                  <a:cubicBezTo>
                    <a:pt x="130693" y="21694"/>
                    <a:pt x="102649" y="0"/>
                    <a:pt x="70902" y="0"/>
                  </a:cubicBezTo>
                  <a:cubicBezTo>
                    <a:pt x="31747" y="0"/>
                    <a:pt x="0" y="31747"/>
                    <a:pt x="0" y="70902"/>
                  </a:cubicBezTo>
                  <a:cubicBezTo>
                    <a:pt x="0" y="102649"/>
                    <a:pt x="21694" y="130692"/>
                    <a:pt x="52383" y="139158"/>
                  </a:cubicBezTo>
                  <a:cubicBezTo>
                    <a:pt x="52912" y="139158"/>
                    <a:pt x="53441" y="139158"/>
                    <a:pt x="53970" y="139158"/>
                  </a:cubicBezTo>
                  <a:cubicBezTo>
                    <a:pt x="56616" y="139158"/>
                    <a:pt x="59261" y="137042"/>
                    <a:pt x="60320" y="134396"/>
                  </a:cubicBezTo>
                  <a:cubicBezTo>
                    <a:pt x="61378" y="130692"/>
                    <a:pt x="59261" y="127518"/>
                    <a:pt x="55557" y="126460"/>
                  </a:cubicBezTo>
                  <a:cubicBezTo>
                    <a:pt x="30160" y="119581"/>
                    <a:pt x="12699" y="96828"/>
                    <a:pt x="12699" y="70902"/>
                  </a:cubicBezTo>
                  <a:cubicBezTo>
                    <a:pt x="13228" y="38625"/>
                    <a:pt x="39155" y="12699"/>
                    <a:pt x="70902" y="12699"/>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5" name="Google Shape;335;p14"/>
            <p:cNvSpPr/>
            <p:nvPr/>
          </p:nvSpPr>
          <p:spPr>
            <a:xfrm>
              <a:off x="5446508" y="5836183"/>
              <a:ext cx="95241" cy="95241"/>
            </a:xfrm>
            <a:custGeom>
              <a:avLst/>
              <a:gdLst/>
              <a:ahLst/>
              <a:cxnLst/>
              <a:rect l="l" t="t" r="r" b="b"/>
              <a:pathLst>
                <a:path w="95241" h="95241" extrusionOk="0">
                  <a:moveTo>
                    <a:pt x="49737" y="0"/>
                  </a:moveTo>
                  <a:cubicBezTo>
                    <a:pt x="22223" y="0"/>
                    <a:pt x="0" y="22223"/>
                    <a:pt x="0" y="49737"/>
                  </a:cubicBezTo>
                  <a:cubicBezTo>
                    <a:pt x="0" y="77251"/>
                    <a:pt x="22223" y="99475"/>
                    <a:pt x="49737" y="99475"/>
                  </a:cubicBezTo>
                  <a:cubicBezTo>
                    <a:pt x="77251" y="99475"/>
                    <a:pt x="99474" y="77251"/>
                    <a:pt x="99474" y="49737"/>
                  </a:cubicBezTo>
                  <a:cubicBezTo>
                    <a:pt x="99474" y="22223"/>
                    <a:pt x="77251" y="0"/>
                    <a:pt x="49737" y="0"/>
                  </a:cubicBezTo>
                  <a:close/>
                  <a:moveTo>
                    <a:pt x="49737" y="86776"/>
                  </a:moveTo>
                  <a:cubicBezTo>
                    <a:pt x="29631" y="86776"/>
                    <a:pt x="12698" y="70373"/>
                    <a:pt x="12698" y="49737"/>
                  </a:cubicBezTo>
                  <a:cubicBezTo>
                    <a:pt x="12698" y="29631"/>
                    <a:pt x="29102" y="12699"/>
                    <a:pt x="49737" y="12699"/>
                  </a:cubicBezTo>
                  <a:cubicBezTo>
                    <a:pt x="70372" y="12699"/>
                    <a:pt x="86775" y="29102"/>
                    <a:pt x="86775" y="49737"/>
                  </a:cubicBezTo>
                  <a:cubicBezTo>
                    <a:pt x="86775" y="70373"/>
                    <a:pt x="70372" y="86776"/>
                    <a:pt x="49737" y="86776"/>
                  </a:cubicBez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6" name="Google Shape;336;p14"/>
            <p:cNvSpPr/>
            <p:nvPr/>
          </p:nvSpPr>
          <p:spPr>
            <a:xfrm>
              <a:off x="5404708" y="5793324"/>
              <a:ext cx="179900" cy="185192"/>
            </a:xfrm>
            <a:custGeom>
              <a:avLst/>
              <a:gdLst/>
              <a:ahLst/>
              <a:cxnLst/>
              <a:rect l="l" t="t" r="r" b="b"/>
              <a:pathLst>
                <a:path w="179900" h="185191" extrusionOk="0">
                  <a:moveTo>
                    <a:pt x="178313" y="73548"/>
                  </a:moveTo>
                  <a:lnTo>
                    <a:pt x="165085" y="73548"/>
                  </a:lnTo>
                  <a:cubicBezTo>
                    <a:pt x="163498" y="67198"/>
                    <a:pt x="160852" y="60849"/>
                    <a:pt x="157677" y="55029"/>
                  </a:cubicBezTo>
                  <a:lnTo>
                    <a:pt x="167201" y="45504"/>
                  </a:lnTo>
                  <a:cubicBezTo>
                    <a:pt x="169847" y="42859"/>
                    <a:pt x="169847" y="38625"/>
                    <a:pt x="167201" y="36509"/>
                  </a:cubicBezTo>
                  <a:lnTo>
                    <a:pt x="148682" y="17990"/>
                  </a:lnTo>
                  <a:cubicBezTo>
                    <a:pt x="146037" y="15345"/>
                    <a:pt x="141804" y="15345"/>
                    <a:pt x="139688" y="17990"/>
                  </a:cubicBezTo>
                  <a:lnTo>
                    <a:pt x="130163" y="27514"/>
                  </a:lnTo>
                  <a:cubicBezTo>
                    <a:pt x="124343" y="24339"/>
                    <a:pt x="117993" y="21694"/>
                    <a:pt x="111644" y="19577"/>
                  </a:cubicBezTo>
                  <a:lnTo>
                    <a:pt x="111644" y="6349"/>
                  </a:lnTo>
                  <a:cubicBezTo>
                    <a:pt x="111644" y="2646"/>
                    <a:pt x="108998" y="0"/>
                    <a:pt x="105295" y="0"/>
                  </a:cubicBezTo>
                  <a:lnTo>
                    <a:pt x="79368" y="0"/>
                  </a:lnTo>
                  <a:cubicBezTo>
                    <a:pt x="75664" y="0"/>
                    <a:pt x="73018" y="2646"/>
                    <a:pt x="73018" y="6349"/>
                  </a:cubicBezTo>
                  <a:lnTo>
                    <a:pt x="73018" y="19577"/>
                  </a:lnTo>
                  <a:cubicBezTo>
                    <a:pt x="66669" y="21165"/>
                    <a:pt x="60320" y="23810"/>
                    <a:pt x="54499" y="27514"/>
                  </a:cubicBezTo>
                  <a:lnTo>
                    <a:pt x="44975" y="17990"/>
                  </a:lnTo>
                  <a:cubicBezTo>
                    <a:pt x="42330" y="15345"/>
                    <a:pt x="38096" y="15345"/>
                    <a:pt x="35980" y="17990"/>
                  </a:cubicBezTo>
                  <a:lnTo>
                    <a:pt x="17461" y="36509"/>
                  </a:lnTo>
                  <a:cubicBezTo>
                    <a:pt x="14815" y="39155"/>
                    <a:pt x="14815" y="43388"/>
                    <a:pt x="17461" y="45504"/>
                  </a:cubicBezTo>
                  <a:lnTo>
                    <a:pt x="26985" y="55029"/>
                  </a:lnTo>
                  <a:cubicBezTo>
                    <a:pt x="23810" y="60849"/>
                    <a:pt x="21165" y="67198"/>
                    <a:pt x="19577" y="73548"/>
                  </a:cubicBezTo>
                  <a:lnTo>
                    <a:pt x="6349" y="73548"/>
                  </a:lnTo>
                  <a:cubicBezTo>
                    <a:pt x="2646" y="73548"/>
                    <a:pt x="0" y="76193"/>
                    <a:pt x="0" y="79897"/>
                  </a:cubicBezTo>
                  <a:lnTo>
                    <a:pt x="0" y="105824"/>
                  </a:lnTo>
                  <a:cubicBezTo>
                    <a:pt x="0" y="109527"/>
                    <a:pt x="2646" y="112173"/>
                    <a:pt x="6349" y="112173"/>
                  </a:cubicBezTo>
                  <a:lnTo>
                    <a:pt x="19577" y="112173"/>
                  </a:lnTo>
                  <a:cubicBezTo>
                    <a:pt x="21165" y="118523"/>
                    <a:pt x="23810" y="124872"/>
                    <a:pt x="26985" y="130692"/>
                  </a:cubicBezTo>
                  <a:lnTo>
                    <a:pt x="17461" y="140217"/>
                  </a:lnTo>
                  <a:cubicBezTo>
                    <a:pt x="16403" y="141275"/>
                    <a:pt x="15345" y="142862"/>
                    <a:pt x="15345" y="144979"/>
                  </a:cubicBezTo>
                  <a:cubicBezTo>
                    <a:pt x="15345" y="146566"/>
                    <a:pt x="15874" y="148153"/>
                    <a:pt x="17461" y="149740"/>
                  </a:cubicBezTo>
                  <a:lnTo>
                    <a:pt x="35980" y="168259"/>
                  </a:lnTo>
                  <a:cubicBezTo>
                    <a:pt x="38625" y="170905"/>
                    <a:pt x="42859" y="170905"/>
                    <a:pt x="44975" y="168259"/>
                  </a:cubicBezTo>
                  <a:lnTo>
                    <a:pt x="54499" y="158736"/>
                  </a:lnTo>
                  <a:cubicBezTo>
                    <a:pt x="60320" y="161910"/>
                    <a:pt x="66669" y="164556"/>
                    <a:pt x="73018" y="166144"/>
                  </a:cubicBezTo>
                  <a:lnTo>
                    <a:pt x="73018" y="179371"/>
                  </a:lnTo>
                  <a:cubicBezTo>
                    <a:pt x="73018" y="183075"/>
                    <a:pt x="75664" y="185721"/>
                    <a:pt x="79368" y="185721"/>
                  </a:cubicBezTo>
                  <a:lnTo>
                    <a:pt x="105295" y="185721"/>
                  </a:lnTo>
                  <a:cubicBezTo>
                    <a:pt x="108998" y="185721"/>
                    <a:pt x="111644" y="183075"/>
                    <a:pt x="111644" y="179371"/>
                  </a:cubicBezTo>
                  <a:lnTo>
                    <a:pt x="111644" y="166144"/>
                  </a:lnTo>
                  <a:cubicBezTo>
                    <a:pt x="117993" y="164556"/>
                    <a:pt x="124343" y="161910"/>
                    <a:pt x="130163" y="158736"/>
                  </a:cubicBezTo>
                  <a:lnTo>
                    <a:pt x="139688" y="168259"/>
                  </a:lnTo>
                  <a:cubicBezTo>
                    <a:pt x="142333" y="170905"/>
                    <a:pt x="146566" y="170905"/>
                    <a:pt x="148682" y="168259"/>
                  </a:cubicBezTo>
                  <a:lnTo>
                    <a:pt x="167201" y="149740"/>
                  </a:lnTo>
                  <a:cubicBezTo>
                    <a:pt x="168259" y="148682"/>
                    <a:pt x="169318" y="147095"/>
                    <a:pt x="169318" y="144979"/>
                  </a:cubicBezTo>
                  <a:cubicBezTo>
                    <a:pt x="169318" y="143391"/>
                    <a:pt x="168789" y="141804"/>
                    <a:pt x="167201" y="140217"/>
                  </a:cubicBezTo>
                  <a:lnTo>
                    <a:pt x="157677" y="130692"/>
                  </a:lnTo>
                  <a:cubicBezTo>
                    <a:pt x="160852" y="124872"/>
                    <a:pt x="163498" y="118523"/>
                    <a:pt x="165085" y="112173"/>
                  </a:cubicBezTo>
                  <a:lnTo>
                    <a:pt x="178313" y="112173"/>
                  </a:lnTo>
                  <a:cubicBezTo>
                    <a:pt x="182017" y="112173"/>
                    <a:pt x="184663" y="109527"/>
                    <a:pt x="184663" y="105824"/>
                  </a:cubicBezTo>
                  <a:lnTo>
                    <a:pt x="184663" y="79897"/>
                  </a:lnTo>
                  <a:cubicBezTo>
                    <a:pt x="184663" y="76193"/>
                    <a:pt x="182017" y="73548"/>
                    <a:pt x="178313" y="73548"/>
                  </a:cubicBezTo>
                  <a:close/>
                  <a:moveTo>
                    <a:pt x="171964" y="99474"/>
                  </a:moveTo>
                  <a:lnTo>
                    <a:pt x="159794" y="99474"/>
                  </a:lnTo>
                  <a:cubicBezTo>
                    <a:pt x="156619" y="99474"/>
                    <a:pt x="153974" y="101591"/>
                    <a:pt x="153445" y="104765"/>
                  </a:cubicBezTo>
                  <a:cubicBezTo>
                    <a:pt x="151857" y="113232"/>
                    <a:pt x="148682" y="121168"/>
                    <a:pt x="143920" y="128047"/>
                  </a:cubicBezTo>
                  <a:cubicBezTo>
                    <a:pt x="142333" y="130692"/>
                    <a:pt x="142333" y="133867"/>
                    <a:pt x="144449" y="136512"/>
                  </a:cubicBezTo>
                  <a:lnTo>
                    <a:pt x="152916" y="144979"/>
                  </a:lnTo>
                  <a:lnTo>
                    <a:pt x="143920" y="153974"/>
                  </a:lnTo>
                  <a:lnTo>
                    <a:pt x="135454" y="145508"/>
                  </a:lnTo>
                  <a:cubicBezTo>
                    <a:pt x="133338" y="143391"/>
                    <a:pt x="129634" y="142862"/>
                    <a:pt x="126989" y="144979"/>
                  </a:cubicBezTo>
                  <a:cubicBezTo>
                    <a:pt x="120110" y="149740"/>
                    <a:pt x="112173" y="152916"/>
                    <a:pt x="103707" y="154503"/>
                  </a:cubicBezTo>
                  <a:cubicBezTo>
                    <a:pt x="100533" y="155031"/>
                    <a:pt x="98416" y="157677"/>
                    <a:pt x="98416" y="160852"/>
                  </a:cubicBezTo>
                  <a:lnTo>
                    <a:pt x="98416" y="173022"/>
                  </a:lnTo>
                  <a:lnTo>
                    <a:pt x="85188" y="173022"/>
                  </a:lnTo>
                  <a:lnTo>
                    <a:pt x="85188" y="160852"/>
                  </a:lnTo>
                  <a:cubicBezTo>
                    <a:pt x="85188" y="157677"/>
                    <a:pt x="83071" y="155031"/>
                    <a:pt x="79897" y="154503"/>
                  </a:cubicBezTo>
                  <a:cubicBezTo>
                    <a:pt x="71431" y="152916"/>
                    <a:pt x="63494" y="149740"/>
                    <a:pt x="56615" y="144979"/>
                  </a:cubicBezTo>
                  <a:cubicBezTo>
                    <a:pt x="53970" y="143391"/>
                    <a:pt x="50795" y="143391"/>
                    <a:pt x="48150" y="145508"/>
                  </a:cubicBezTo>
                  <a:lnTo>
                    <a:pt x="39684" y="153974"/>
                  </a:lnTo>
                  <a:lnTo>
                    <a:pt x="30689" y="144979"/>
                  </a:lnTo>
                  <a:lnTo>
                    <a:pt x="39155" y="136512"/>
                  </a:lnTo>
                  <a:cubicBezTo>
                    <a:pt x="41271" y="134396"/>
                    <a:pt x="41801" y="130692"/>
                    <a:pt x="39684" y="128047"/>
                  </a:cubicBezTo>
                  <a:cubicBezTo>
                    <a:pt x="34922" y="121168"/>
                    <a:pt x="31747" y="113232"/>
                    <a:pt x="30160" y="104765"/>
                  </a:cubicBezTo>
                  <a:cubicBezTo>
                    <a:pt x="29631" y="101591"/>
                    <a:pt x="26985" y="99474"/>
                    <a:pt x="23810" y="99474"/>
                  </a:cubicBezTo>
                  <a:lnTo>
                    <a:pt x="11640" y="99474"/>
                  </a:lnTo>
                  <a:lnTo>
                    <a:pt x="11640" y="86246"/>
                  </a:lnTo>
                  <a:lnTo>
                    <a:pt x="23810" y="86246"/>
                  </a:lnTo>
                  <a:cubicBezTo>
                    <a:pt x="26985" y="86246"/>
                    <a:pt x="29631" y="84130"/>
                    <a:pt x="30160" y="80955"/>
                  </a:cubicBezTo>
                  <a:cubicBezTo>
                    <a:pt x="31747" y="72489"/>
                    <a:pt x="34922" y="64552"/>
                    <a:pt x="39684" y="57674"/>
                  </a:cubicBezTo>
                  <a:cubicBezTo>
                    <a:pt x="41271" y="55029"/>
                    <a:pt x="41271" y="51853"/>
                    <a:pt x="39155" y="49208"/>
                  </a:cubicBezTo>
                  <a:lnTo>
                    <a:pt x="30689" y="40742"/>
                  </a:lnTo>
                  <a:lnTo>
                    <a:pt x="39684" y="31747"/>
                  </a:lnTo>
                  <a:lnTo>
                    <a:pt x="48150" y="40213"/>
                  </a:lnTo>
                  <a:cubicBezTo>
                    <a:pt x="50266" y="42330"/>
                    <a:pt x="53970" y="42859"/>
                    <a:pt x="56615" y="40742"/>
                  </a:cubicBezTo>
                  <a:cubicBezTo>
                    <a:pt x="63494" y="35980"/>
                    <a:pt x="71431" y="32805"/>
                    <a:pt x="79897" y="31218"/>
                  </a:cubicBezTo>
                  <a:cubicBezTo>
                    <a:pt x="83071" y="30689"/>
                    <a:pt x="85188" y="28043"/>
                    <a:pt x="85188" y="24868"/>
                  </a:cubicBezTo>
                  <a:lnTo>
                    <a:pt x="85188" y="12699"/>
                  </a:lnTo>
                  <a:lnTo>
                    <a:pt x="98416" y="12699"/>
                  </a:lnTo>
                  <a:lnTo>
                    <a:pt x="98416" y="24868"/>
                  </a:lnTo>
                  <a:cubicBezTo>
                    <a:pt x="98416" y="28043"/>
                    <a:pt x="100533" y="30689"/>
                    <a:pt x="103707" y="31218"/>
                  </a:cubicBezTo>
                  <a:cubicBezTo>
                    <a:pt x="112173" y="32805"/>
                    <a:pt x="120110" y="35980"/>
                    <a:pt x="126989" y="40742"/>
                  </a:cubicBezTo>
                  <a:cubicBezTo>
                    <a:pt x="129634" y="42330"/>
                    <a:pt x="132809" y="42330"/>
                    <a:pt x="135454" y="40213"/>
                  </a:cubicBezTo>
                  <a:lnTo>
                    <a:pt x="143920" y="31747"/>
                  </a:lnTo>
                  <a:lnTo>
                    <a:pt x="152916" y="40742"/>
                  </a:lnTo>
                  <a:lnTo>
                    <a:pt x="144449" y="49208"/>
                  </a:lnTo>
                  <a:cubicBezTo>
                    <a:pt x="142333" y="51324"/>
                    <a:pt x="141804" y="55029"/>
                    <a:pt x="143920" y="57674"/>
                  </a:cubicBezTo>
                  <a:cubicBezTo>
                    <a:pt x="148682" y="64552"/>
                    <a:pt x="151857" y="72489"/>
                    <a:pt x="153445" y="80955"/>
                  </a:cubicBezTo>
                  <a:cubicBezTo>
                    <a:pt x="153974" y="84130"/>
                    <a:pt x="156619" y="86246"/>
                    <a:pt x="159794" y="86246"/>
                  </a:cubicBezTo>
                  <a:lnTo>
                    <a:pt x="171964" y="86246"/>
                  </a:lnTo>
                  <a:lnTo>
                    <a:pt x="171964" y="99474"/>
                  </a:lnTo>
                  <a:close/>
                </a:path>
              </a:pathLst>
            </a:custGeom>
            <a:grp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grpSp>
      <p:sp>
        <p:nvSpPr>
          <p:cNvPr id="77" name="Google Shape;92;p13"/>
          <p:cNvSpPr/>
          <p:nvPr/>
        </p:nvSpPr>
        <p:spPr>
          <a:xfrm>
            <a:off x="8400256" y="1879021"/>
            <a:ext cx="648072" cy="648072"/>
          </a:xfrm>
          <a:custGeom>
            <a:avLst/>
            <a:gdLst/>
            <a:ahLst/>
            <a:cxnLst/>
            <a:rect l="l" t="t" r="r" b="b"/>
            <a:pathLst>
              <a:path w="312180" h="312180" extrusionOk="0">
                <a:moveTo>
                  <a:pt x="294190" y="79897"/>
                </a:moveTo>
                <a:cubicBezTo>
                  <a:pt x="293661" y="78839"/>
                  <a:pt x="293132" y="77781"/>
                  <a:pt x="292074" y="76722"/>
                </a:cubicBezTo>
                <a:cubicBezTo>
                  <a:pt x="264560" y="31218"/>
                  <a:pt x="215351" y="529"/>
                  <a:pt x="159265" y="0"/>
                </a:cubicBezTo>
                <a:lnTo>
                  <a:pt x="159265" y="0"/>
                </a:lnTo>
                <a:cubicBezTo>
                  <a:pt x="159265" y="0"/>
                  <a:pt x="158736" y="0"/>
                  <a:pt x="158736" y="0"/>
                </a:cubicBezTo>
                <a:cubicBezTo>
                  <a:pt x="158736" y="0"/>
                  <a:pt x="157148" y="0"/>
                  <a:pt x="157148" y="0"/>
                </a:cubicBezTo>
                <a:lnTo>
                  <a:pt x="155032" y="0"/>
                </a:lnTo>
                <a:cubicBezTo>
                  <a:pt x="133867" y="0"/>
                  <a:pt x="113761" y="4762"/>
                  <a:pt x="95241" y="12699"/>
                </a:cubicBezTo>
                <a:cubicBezTo>
                  <a:pt x="76722" y="20636"/>
                  <a:pt x="59261" y="32276"/>
                  <a:pt x="44975" y="47092"/>
                </a:cubicBezTo>
                <a:cubicBezTo>
                  <a:pt x="35980" y="56616"/>
                  <a:pt x="28043" y="67198"/>
                  <a:pt x="21694" y="77781"/>
                </a:cubicBezTo>
                <a:cubicBezTo>
                  <a:pt x="21165" y="78310"/>
                  <a:pt x="21165" y="78839"/>
                  <a:pt x="20636" y="79368"/>
                </a:cubicBezTo>
                <a:cubicBezTo>
                  <a:pt x="7408" y="102649"/>
                  <a:pt x="0" y="129105"/>
                  <a:pt x="0" y="156619"/>
                </a:cubicBezTo>
                <a:cubicBezTo>
                  <a:pt x="0" y="184133"/>
                  <a:pt x="7408" y="210589"/>
                  <a:pt x="20636" y="234400"/>
                </a:cubicBezTo>
                <a:cubicBezTo>
                  <a:pt x="21165" y="234929"/>
                  <a:pt x="21694" y="235987"/>
                  <a:pt x="22223" y="236516"/>
                </a:cubicBezTo>
                <a:cubicBezTo>
                  <a:pt x="28572" y="247628"/>
                  <a:pt x="35980" y="257681"/>
                  <a:pt x="45504" y="267205"/>
                </a:cubicBezTo>
                <a:cubicBezTo>
                  <a:pt x="74606" y="296836"/>
                  <a:pt x="113761" y="313768"/>
                  <a:pt x="155561" y="314297"/>
                </a:cubicBezTo>
                <a:lnTo>
                  <a:pt x="155561" y="314297"/>
                </a:lnTo>
                <a:cubicBezTo>
                  <a:pt x="155561" y="314297"/>
                  <a:pt x="155561" y="314297"/>
                  <a:pt x="155561" y="314297"/>
                </a:cubicBezTo>
                <a:cubicBezTo>
                  <a:pt x="155561" y="314297"/>
                  <a:pt x="155561" y="314297"/>
                  <a:pt x="155561" y="314297"/>
                </a:cubicBezTo>
                <a:lnTo>
                  <a:pt x="159265" y="314297"/>
                </a:lnTo>
                <a:cubicBezTo>
                  <a:pt x="159265" y="314297"/>
                  <a:pt x="158736" y="314297"/>
                  <a:pt x="158736" y="314297"/>
                </a:cubicBezTo>
                <a:cubicBezTo>
                  <a:pt x="158736" y="314297"/>
                  <a:pt x="159265" y="314297"/>
                  <a:pt x="159265" y="314297"/>
                </a:cubicBezTo>
                <a:lnTo>
                  <a:pt x="159265" y="314297"/>
                </a:lnTo>
                <a:lnTo>
                  <a:pt x="159265" y="314297"/>
                </a:lnTo>
                <a:cubicBezTo>
                  <a:pt x="187308" y="313768"/>
                  <a:pt x="213764" y="305831"/>
                  <a:pt x="236516" y="292603"/>
                </a:cubicBezTo>
                <a:cubicBezTo>
                  <a:pt x="259268" y="278846"/>
                  <a:pt x="278317" y="259797"/>
                  <a:pt x="292074" y="237575"/>
                </a:cubicBezTo>
                <a:cubicBezTo>
                  <a:pt x="292603" y="236516"/>
                  <a:pt x="293132" y="235458"/>
                  <a:pt x="294190" y="234400"/>
                </a:cubicBezTo>
                <a:cubicBezTo>
                  <a:pt x="306889" y="211648"/>
                  <a:pt x="314826" y="185192"/>
                  <a:pt x="314826" y="157148"/>
                </a:cubicBezTo>
                <a:cubicBezTo>
                  <a:pt x="314826" y="129105"/>
                  <a:pt x="306889" y="102649"/>
                  <a:pt x="294190" y="79897"/>
                </a:cubicBezTo>
                <a:close/>
                <a:moveTo>
                  <a:pt x="138629" y="29102"/>
                </a:moveTo>
                <a:cubicBezTo>
                  <a:pt x="140746" y="26985"/>
                  <a:pt x="142862" y="24869"/>
                  <a:pt x="144979" y="22752"/>
                </a:cubicBezTo>
                <a:cubicBezTo>
                  <a:pt x="146037" y="21694"/>
                  <a:pt x="147624" y="20636"/>
                  <a:pt x="148682" y="19577"/>
                </a:cubicBezTo>
                <a:cubicBezTo>
                  <a:pt x="149212" y="19048"/>
                  <a:pt x="149741" y="18519"/>
                  <a:pt x="150799" y="17990"/>
                </a:cubicBezTo>
                <a:lnTo>
                  <a:pt x="150799" y="75135"/>
                </a:lnTo>
                <a:lnTo>
                  <a:pt x="106353" y="75135"/>
                </a:lnTo>
                <a:cubicBezTo>
                  <a:pt x="109528" y="68256"/>
                  <a:pt x="113231" y="61378"/>
                  <a:pt x="117464" y="55029"/>
                </a:cubicBezTo>
                <a:cubicBezTo>
                  <a:pt x="120110" y="50795"/>
                  <a:pt x="122756" y="47092"/>
                  <a:pt x="125930" y="43388"/>
                </a:cubicBezTo>
                <a:cubicBezTo>
                  <a:pt x="126989" y="42330"/>
                  <a:pt x="128047" y="41271"/>
                  <a:pt x="128576" y="40213"/>
                </a:cubicBezTo>
                <a:cubicBezTo>
                  <a:pt x="130692" y="37567"/>
                  <a:pt x="132809" y="35451"/>
                  <a:pt x="134925" y="32805"/>
                </a:cubicBezTo>
                <a:cubicBezTo>
                  <a:pt x="136513" y="31218"/>
                  <a:pt x="137571" y="30160"/>
                  <a:pt x="138629" y="29102"/>
                </a:cubicBezTo>
                <a:close/>
                <a:moveTo>
                  <a:pt x="150799" y="163498"/>
                </a:moveTo>
                <a:lnTo>
                  <a:pt x="150799" y="225934"/>
                </a:lnTo>
                <a:lnTo>
                  <a:pt x="101062" y="225934"/>
                </a:lnTo>
                <a:cubicBezTo>
                  <a:pt x="93654" y="206356"/>
                  <a:pt x="89421" y="185192"/>
                  <a:pt x="88892" y="163498"/>
                </a:cubicBezTo>
                <a:lnTo>
                  <a:pt x="150799" y="163498"/>
                </a:lnTo>
                <a:close/>
                <a:moveTo>
                  <a:pt x="88892" y="150270"/>
                </a:moveTo>
                <a:cubicBezTo>
                  <a:pt x="89421" y="128576"/>
                  <a:pt x="93654" y="107411"/>
                  <a:pt x="101062" y="87834"/>
                </a:cubicBezTo>
                <a:lnTo>
                  <a:pt x="150799" y="87834"/>
                </a:lnTo>
                <a:lnTo>
                  <a:pt x="150799" y="150270"/>
                </a:lnTo>
                <a:lnTo>
                  <a:pt x="88892" y="150270"/>
                </a:lnTo>
                <a:close/>
                <a:moveTo>
                  <a:pt x="54499" y="56086"/>
                </a:moveTo>
                <a:cubicBezTo>
                  <a:pt x="76193" y="33864"/>
                  <a:pt x="104236" y="19577"/>
                  <a:pt x="134925" y="14815"/>
                </a:cubicBezTo>
                <a:cubicBezTo>
                  <a:pt x="133867" y="15344"/>
                  <a:pt x="133338" y="16403"/>
                  <a:pt x="132280" y="17461"/>
                </a:cubicBezTo>
                <a:cubicBezTo>
                  <a:pt x="129105" y="20636"/>
                  <a:pt x="125401" y="24340"/>
                  <a:pt x="122226" y="28043"/>
                </a:cubicBezTo>
                <a:cubicBezTo>
                  <a:pt x="121168" y="29631"/>
                  <a:pt x="119581" y="31218"/>
                  <a:pt x="118523" y="32276"/>
                </a:cubicBezTo>
                <a:cubicBezTo>
                  <a:pt x="114290" y="37567"/>
                  <a:pt x="110586" y="42859"/>
                  <a:pt x="106882" y="48150"/>
                </a:cubicBezTo>
                <a:cubicBezTo>
                  <a:pt x="101062" y="57145"/>
                  <a:pt x="96300" y="66140"/>
                  <a:pt x="92067" y="75664"/>
                </a:cubicBezTo>
                <a:lnTo>
                  <a:pt x="38097" y="75664"/>
                </a:lnTo>
                <a:cubicBezTo>
                  <a:pt x="43388" y="68256"/>
                  <a:pt x="48679" y="61907"/>
                  <a:pt x="54499" y="56086"/>
                </a:cubicBezTo>
                <a:close/>
                <a:moveTo>
                  <a:pt x="30689" y="87834"/>
                </a:moveTo>
                <a:lnTo>
                  <a:pt x="87305" y="87834"/>
                </a:lnTo>
                <a:cubicBezTo>
                  <a:pt x="80426" y="107411"/>
                  <a:pt x="76193" y="128576"/>
                  <a:pt x="75664" y="150270"/>
                </a:cubicBezTo>
                <a:lnTo>
                  <a:pt x="13228" y="150270"/>
                </a:lnTo>
                <a:cubicBezTo>
                  <a:pt x="14286" y="128576"/>
                  <a:pt x="20106" y="107411"/>
                  <a:pt x="30689" y="87834"/>
                </a:cubicBezTo>
                <a:close/>
                <a:moveTo>
                  <a:pt x="13228" y="163498"/>
                </a:moveTo>
                <a:lnTo>
                  <a:pt x="75664" y="163498"/>
                </a:lnTo>
                <a:cubicBezTo>
                  <a:pt x="76193" y="185192"/>
                  <a:pt x="80426" y="206356"/>
                  <a:pt x="87305" y="225934"/>
                </a:cubicBezTo>
                <a:lnTo>
                  <a:pt x="30689" y="225934"/>
                </a:lnTo>
                <a:cubicBezTo>
                  <a:pt x="20106" y="206885"/>
                  <a:pt x="14286" y="185721"/>
                  <a:pt x="13228" y="163498"/>
                </a:cubicBezTo>
                <a:close/>
                <a:moveTo>
                  <a:pt x="54499" y="257681"/>
                </a:moveTo>
                <a:cubicBezTo>
                  <a:pt x="48679" y="251861"/>
                  <a:pt x="43388" y="245511"/>
                  <a:pt x="38626" y="238633"/>
                </a:cubicBezTo>
                <a:lnTo>
                  <a:pt x="92067" y="238633"/>
                </a:lnTo>
                <a:cubicBezTo>
                  <a:pt x="96300" y="248157"/>
                  <a:pt x="101062" y="257152"/>
                  <a:pt x="106882" y="266147"/>
                </a:cubicBezTo>
                <a:cubicBezTo>
                  <a:pt x="110586" y="271967"/>
                  <a:pt x="114290" y="277259"/>
                  <a:pt x="118523" y="282020"/>
                </a:cubicBezTo>
                <a:cubicBezTo>
                  <a:pt x="119581" y="283608"/>
                  <a:pt x="121168" y="285195"/>
                  <a:pt x="122226" y="286253"/>
                </a:cubicBezTo>
                <a:cubicBezTo>
                  <a:pt x="125401" y="289957"/>
                  <a:pt x="128576" y="293132"/>
                  <a:pt x="132280" y="296836"/>
                </a:cubicBezTo>
                <a:cubicBezTo>
                  <a:pt x="133338" y="297365"/>
                  <a:pt x="133867" y="298423"/>
                  <a:pt x="134925" y="299481"/>
                </a:cubicBezTo>
                <a:cubicBezTo>
                  <a:pt x="104236" y="294719"/>
                  <a:pt x="76193" y="280433"/>
                  <a:pt x="54499" y="257681"/>
                </a:cubicBezTo>
                <a:close/>
                <a:moveTo>
                  <a:pt x="148682" y="294190"/>
                </a:moveTo>
                <a:cubicBezTo>
                  <a:pt x="147624" y="293132"/>
                  <a:pt x="146037" y="292074"/>
                  <a:pt x="144979" y="291015"/>
                </a:cubicBezTo>
                <a:cubicBezTo>
                  <a:pt x="142862" y="288899"/>
                  <a:pt x="140746" y="286783"/>
                  <a:pt x="138629" y="284666"/>
                </a:cubicBezTo>
                <a:cubicBezTo>
                  <a:pt x="137571" y="283608"/>
                  <a:pt x="135984" y="282020"/>
                  <a:pt x="134925" y="280962"/>
                </a:cubicBezTo>
                <a:cubicBezTo>
                  <a:pt x="132809" y="278846"/>
                  <a:pt x="130692" y="276200"/>
                  <a:pt x="128576" y="273555"/>
                </a:cubicBezTo>
                <a:cubicBezTo>
                  <a:pt x="127518" y="272496"/>
                  <a:pt x="126459" y="271438"/>
                  <a:pt x="125401" y="270380"/>
                </a:cubicBezTo>
                <a:cubicBezTo>
                  <a:pt x="122226" y="266676"/>
                  <a:pt x="119581" y="262972"/>
                  <a:pt x="116935" y="258739"/>
                </a:cubicBezTo>
                <a:cubicBezTo>
                  <a:pt x="112702" y="252390"/>
                  <a:pt x="108998" y="245511"/>
                  <a:pt x="105824" y="238633"/>
                </a:cubicBezTo>
                <a:lnTo>
                  <a:pt x="150270" y="238633"/>
                </a:lnTo>
                <a:lnTo>
                  <a:pt x="150270" y="295778"/>
                </a:lnTo>
                <a:cubicBezTo>
                  <a:pt x="149741" y="295778"/>
                  <a:pt x="149741" y="295248"/>
                  <a:pt x="149212" y="295248"/>
                </a:cubicBezTo>
                <a:cubicBezTo>
                  <a:pt x="149741" y="294719"/>
                  <a:pt x="149212" y="294719"/>
                  <a:pt x="148682" y="294190"/>
                </a:cubicBezTo>
                <a:close/>
                <a:moveTo>
                  <a:pt x="301598" y="150270"/>
                </a:moveTo>
                <a:lnTo>
                  <a:pt x="239162" y="150270"/>
                </a:lnTo>
                <a:cubicBezTo>
                  <a:pt x="238633" y="128576"/>
                  <a:pt x="234929" y="107411"/>
                  <a:pt x="227521" y="87834"/>
                </a:cubicBezTo>
                <a:lnTo>
                  <a:pt x="284137" y="87834"/>
                </a:lnTo>
                <a:cubicBezTo>
                  <a:pt x="294190" y="106882"/>
                  <a:pt x="300540" y="128047"/>
                  <a:pt x="301598" y="150270"/>
                </a:cubicBezTo>
                <a:close/>
                <a:moveTo>
                  <a:pt x="275671" y="75135"/>
                </a:moveTo>
                <a:lnTo>
                  <a:pt x="222230" y="75135"/>
                </a:lnTo>
                <a:cubicBezTo>
                  <a:pt x="217997" y="65611"/>
                  <a:pt x="213235" y="56616"/>
                  <a:pt x="207415" y="47621"/>
                </a:cubicBezTo>
                <a:cubicBezTo>
                  <a:pt x="203711" y="41800"/>
                  <a:pt x="200007" y="36509"/>
                  <a:pt x="195774" y="31747"/>
                </a:cubicBezTo>
                <a:cubicBezTo>
                  <a:pt x="194716" y="30160"/>
                  <a:pt x="193128" y="28572"/>
                  <a:pt x="192070" y="27514"/>
                </a:cubicBezTo>
                <a:cubicBezTo>
                  <a:pt x="188895" y="23810"/>
                  <a:pt x="185721" y="20636"/>
                  <a:pt x="182017" y="17461"/>
                </a:cubicBezTo>
                <a:cubicBezTo>
                  <a:pt x="181488" y="16403"/>
                  <a:pt x="180430" y="15344"/>
                  <a:pt x="179371" y="14815"/>
                </a:cubicBezTo>
                <a:cubicBezTo>
                  <a:pt x="219584" y="20636"/>
                  <a:pt x="253977" y="43388"/>
                  <a:pt x="275671" y="75135"/>
                </a:cubicBezTo>
                <a:close/>
                <a:moveTo>
                  <a:pt x="164027" y="17990"/>
                </a:moveTo>
                <a:cubicBezTo>
                  <a:pt x="164556" y="18519"/>
                  <a:pt x="165085" y="19048"/>
                  <a:pt x="166143" y="19577"/>
                </a:cubicBezTo>
                <a:cubicBezTo>
                  <a:pt x="167202" y="20636"/>
                  <a:pt x="168789" y="21694"/>
                  <a:pt x="169847" y="22752"/>
                </a:cubicBezTo>
                <a:cubicBezTo>
                  <a:pt x="171964" y="24869"/>
                  <a:pt x="174080" y="26985"/>
                  <a:pt x="176197" y="29102"/>
                </a:cubicBezTo>
                <a:cubicBezTo>
                  <a:pt x="177255" y="30160"/>
                  <a:pt x="178313" y="31747"/>
                  <a:pt x="179371" y="32805"/>
                </a:cubicBezTo>
                <a:cubicBezTo>
                  <a:pt x="181488" y="35451"/>
                  <a:pt x="183604" y="37567"/>
                  <a:pt x="185721" y="40213"/>
                </a:cubicBezTo>
                <a:cubicBezTo>
                  <a:pt x="186779" y="41271"/>
                  <a:pt x="187837" y="42330"/>
                  <a:pt x="188366" y="43388"/>
                </a:cubicBezTo>
                <a:cubicBezTo>
                  <a:pt x="191541" y="47092"/>
                  <a:pt x="194187" y="50795"/>
                  <a:pt x="196832" y="55029"/>
                </a:cubicBezTo>
                <a:cubicBezTo>
                  <a:pt x="201065" y="61378"/>
                  <a:pt x="204769" y="68256"/>
                  <a:pt x="207944" y="75135"/>
                </a:cubicBezTo>
                <a:lnTo>
                  <a:pt x="164027" y="75135"/>
                </a:lnTo>
                <a:lnTo>
                  <a:pt x="164027" y="17990"/>
                </a:lnTo>
                <a:close/>
                <a:moveTo>
                  <a:pt x="164027" y="87834"/>
                </a:moveTo>
                <a:lnTo>
                  <a:pt x="213764" y="87834"/>
                </a:lnTo>
                <a:cubicBezTo>
                  <a:pt x="221172" y="107411"/>
                  <a:pt x="225405" y="128576"/>
                  <a:pt x="225934" y="150270"/>
                </a:cubicBezTo>
                <a:lnTo>
                  <a:pt x="164027" y="150270"/>
                </a:lnTo>
                <a:lnTo>
                  <a:pt x="164027" y="87834"/>
                </a:lnTo>
                <a:close/>
                <a:moveTo>
                  <a:pt x="164027" y="163498"/>
                </a:moveTo>
                <a:lnTo>
                  <a:pt x="225934" y="163498"/>
                </a:lnTo>
                <a:cubicBezTo>
                  <a:pt x="225405" y="185192"/>
                  <a:pt x="221172" y="206356"/>
                  <a:pt x="213764" y="225934"/>
                </a:cubicBezTo>
                <a:lnTo>
                  <a:pt x="164027" y="225934"/>
                </a:lnTo>
                <a:lnTo>
                  <a:pt x="164027" y="163498"/>
                </a:lnTo>
                <a:close/>
                <a:moveTo>
                  <a:pt x="176197" y="284666"/>
                </a:moveTo>
                <a:cubicBezTo>
                  <a:pt x="174080" y="286783"/>
                  <a:pt x="171964" y="288899"/>
                  <a:pt x="169847" y="291015"/>
                </a:cubicBezTo>
                <a:cubicBezTo>
                  <a:pt x="168789" y="292074"/>
                  <a:pt x="167202" y="293132"/>
                  <a:pt x="166143" y="294190"/>
                </a:cubicBezTo>
                <a:cubicBezTo>
                  <a:pt x="165614" y="294719"/>
                  <a:pt x="165085" y="295248"/>
                  <a:pt x="164027" y="295778"/>
                </a:cubicBezTo>
                <a:cubicBezTo>
                  <a:pt x="164556" y="295248"/>
                  <a:pt x="165085" y="294719"/>
                  <a:pt x="166143" y="294190"/>
                </a:cubicBezTo>
                <a:cubicBezTo>
                  <a:pt x="165614" y="294719"/>
                  <a:pt x="165085" y="295248"/>
                  <a:pt x="164027" y="295778"/>
                </a:cubicBezTo>
                <a:lnTo>
                  <a:pt x="164027" y="238633"/>
                </a:lnTo>
                <a:lnTo>
                  <a:pt x="207944" y="238633"/>
                </a:lnTo>
                <a:cubicBezTo>
                  <a:pt x="204769" y="245511"/>
                  <a:pt x="201065" y="252390"/>
                  <a:pt x="196832" y="258739"/>
                </a:cubicBezTo>
                <a:cubicBezTo>
                  <a:pt x="194187" y="262972"/>
                  <a:pt x="191541" y="266676"/>
                  <a:pt x="188366" y="270380"/>
                </a:cubicBezTo>
                <a:cubicBezTo>
                  <a:pt x="187308" y="271438"/>
                  <a:pt x="186250" y="272496"/>
                  <a:pt x="185721" y="273555"/>
                </a:cubicBezTo>
                <a:cubicBezTo>
                  <a:pt x="183604" y="276200"/>
                  <a:pt x="181488" y="278316"/>
                  <a:pt x="179371" y="280962"/>
                </a:cubicBezTo>
                <a:cubicBezTo>
                  <a:pt x="178313" y="282550"/>
                  <a:pt x="177255" y="283608"/>
                  <a:pt x="176197" y="284666"/>
                </a:cubicBezTo>
                <a:close/>
                <a:moveTo>
                  <a:pt x="179900" y="299481"/>
                </a:moveTo>
                <a:cubicBezTo>
                  <a:pt x="180959" y="298952"/>
                  <a:pt x="181488" y="297894"/>
                  <a:pt x="182546" y="296836"/>
                </a:cubicBezTo>
                <a:cubicBezTo>
                  <a:pt x="185721" y="293661"/>
                  <a:pt x="189425" y="289957"/>
                  <a:pt x="192599" y="286783"/>
                </a:cubicBezTo>
                <a:cubicBezTo>
                  <a:pt x="193658" y="285195"/>
                  <a:pt x="195245" y="283608"/>
                  <a:pt x="196303" y="282550"/>
                </a:cubicBezTo>
                <a:cubicBezTo>
                  <a:pt x="200536" y="277259"/>
                  <a:pt x="204240" y="271967"/>
                  <a:pt x="207944" y="266676"/>
                </a:cubicBezTo>
                <a:cubicBezTo>
                  <a:pt x="213764" y="257681"/>
                  <a:pt x="218526" y="248686"/>
                  <a:pt x="222759" y="239162"/>
                </a:cubicBezTo>
                <a:lnTo>
                  <a:pt x="276200" y="239162"/>
                </a:lnTo>
                <a:cubicBezTo>
                  <a:pt x="253977" y="270380"/>
                  <a:pt x="219584" y="293132"/>
                  <a:pt x="179900" y="299481"/>
                </a:cubicBezTo>
                <a:close/>
                <a:moveTo>
                  <a:pt x="283608" y="225934"/>
                </a:moveTo>
                <a:lnTo>
                  <a:pt x="226992" y="225934"/>
                </a:lnTo>
                <a:cubicBezTo>
                  <a:pt x="233871" y="206356"/>
                  <a:pt x="238104" y="185192"/>
                  <a:pt x="238633" y="163498"/>
                </a:cubicBezTo>
                <a:lnTo>
                  <a:pt x="301069" y="163498"/>
                </a:lnTo>
                <a:cubicBezTo>
                  <a:pt x="300540" y="185721"/>
                  <a:pt x="294190" y="206885"/>
                  <a:pt x="283608" y="225934"/>
                </a:cubicBezTo>
                <a:close/>
              </a:path>
            </a:pathLst>
          </a:custGeom>
          <a:solidFill>
            <a:schemeClr val="bg1"/>
          </a:solidFill>
          <a:ln>
            <a:noFill/>
          </a:ln>
        </p:spPr>
        <p:txBody>
          <a:bodyPr spcFirstLastPara="1" wrap="square" lIns="91425" tIns="45700" rIns="91425" bIns="4570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
        <p:nvSpPr>
          <p:cNvPr id="78" name="Google Shape;2222;p27"/>
          <p:cNvSpPr/>
          <p:nvPr/>
        </p:nvSpPr>
        <p:spPr>
          <a:xfrm>
            <a:off x="10390454" y="1998669"/>
            <a:ext cx="606019" cy="470125"/>
          </a:xfrm>
          <a:custGeom>
            <a:avLst/>
            <a:gdLst/>
            <a:ahLst/>
            <a:cxnLst/>
            <a:rect l="l" t="t" r="r" b="b"/>
            <a:pathLst>
              <a:path w="306916" h="238093" extrusionOk="0">
                <a:moveTo>
                  <a:pt x="307975" y="21713"/>
                </a:moveTo>
                <a:lnTo>
                  <a:pt x="307975" y="188379"/>
                </a:lnTo>
                <a:cubicBezTo>
                  <a:pt x="307975" y="200548"/>
                  <a:pt x="297921" y="210072"/>
                  <a:pt x="286279" y="210072"/>
                </a:cubicBezTo>
                <a:lnTo>
                  <a:pt x="177271" y="210072"/>
                </a:lnTo>
                <a:cubicBezTo>
                  <a:pt x="173567" y="210072"/>
                  <a:pt x="170921" y="207426"/>
                  <a:pt x="170921" y="203722"/>
                </a:cubicBezTo>
                <a:cubicBezTo>
                  <a:pt x="170921" y="200019"/>
                  <a:pt x="173567" y="197373"/>
                  <a:pt x="177271" y="197373"/>
                </a:cubicBezTo>
                <a:lnTo>
                  <a:pt x="286279" y="197373"/>
                </a:lnTo>
                <a:cubicBezTo>
                  <a:pt x="291571" y="197373"/>
                  <a:pt x="295275" y="193140"/>
                  <a:pt x="295275" y="188379"/>
                </a:cubicBezTo>
                <a:lnTo>
                  <a:pt x="295275" y="49226"/>
                </a:lnTo>
                <a:lnTo>
                  <a:pt x="273050" y="49226"/>
                </a:lnTo>
                <a:cubicBezTo>
                  <a:pt x="269346" y="49226"/>
                  <a:pt x="266700" y="46581"/>
                  <a:pt x="266700" y="42877"/>
                </a:cubicBezTo>
                <a:cubicBezTo>
                  <a:pt x="266700" y="39173"/>
                  <a:pt x="269346" y="36528"/>
                  <a:pt x="273050" y="36528"/>
                </a:cubicBezTo>
                <a:lnTo>
                  <a:pt x="294746" y="36528"/>
                </a:lnTo>
                <a:lnTo>
                  <a:pt x="294746" y="21184"/>
                </a:lnTo>
                <a:cubicBezTo>
                  <a:pt x="294746" y="15893"/>
                  <a:pt x="290512" y="12189"/>
                  <a:pt x="285750" y="12189"/>
                </a:cubicBezTo>
                <a:lnTo>
                  <a:pt x="21696" y="12189"/>
                </a:lnTo>
                <a:cubicBezTo>
                  <a:pt x="16404" y="12189"/>
                  <a:pt x="12700" y="16422"/>
                  <a:pt x="12700" y="21184"/>
                </a:cubicBezTo>
                <a:lnTo>
                  <a:pt x="12700" y="37586"/>
                </a:lnTo>
                <a:lnTo>
                  <a:pt x="155575" y="37586"/>
                </a:lnTo>
                <a:cubicBezTo>
                  <a:pt x="159279" y="37586"/>
                  <a:pt x="161925" y="40232"/>
                  <a:pt x="161925" y="43935"/>
                </a:cubicBezTo>
                <a:cubicBezTo>
                  <a:pt x="161925" y="47639"/>
                  <a:pt x="159279" y="50284"/>
                  <a:pt x="155575" y="50284"/>
                </a:cubicBezTo>
                <a:lnTo>
                  <a:pt x="12700" y="50284"/>
                </a:lnTo>
                <a:lnTo>
                  <a:pt x="12700" y="185204"/>
                </a:lnTo>
                <a:cubicBezTo>
                  <a:pt x="12700" y="192082"/>
                  <a:pt x="17991" y="197373"/>
                  <a:pt x="24871" y="197373"/>
                </a:cubicBezTo>
                <a:lnTo>
                  <a:pt x="65616" y="197373"/>
                </a:lnTo>
                <a:cubicBezTo>
                  <a:pt x="69321" y="197373"/>
                  <a:pt x="71967" y="200019"/>
                  <a:pt x="71967" y="203722"/>
                </a:cubicBezTo>
                <a:cubicBezTo>
                  <a:pt x="71967" y="207426"/>
                  <a:pt x="69321" y="210072"/>
                  <a:pt x="65616" y="210072"/>
                </a:cubicBezTo>
                <a:lnTo>
                  <a:pt x="24871" y="210072"/>
                </a:lnTo>
                <a:cubicBezTo>
                  <a:pt x="11112" y="210072"/>
                  <a:pt x="0" y="198961"/>
                  <a:pt x="0" y="185204"/>
                </a:cubicBezTo>
                <a:lnTo>
                  <a:pt x="0" y="21713"/>
                </a:lnTo>
                <a:cubicBezTo>
                  <a:pt x="0" y="9544"/>
                  <a:pt x="10054" y="20"/>
                  <a:pt x="21696" y="20"/>
                </a:cubicBezTo>
                <a:lnTo>
                  <a:pt x="285750" y="20"/>
                </a:lnTo>
                <a:cubicBezTo>
                  <a:pt x="297921" y="-509"/>
                  <a:pt x="307975" y="9544"/>
                  <a:pt x="307975" y="21713"/>
                </a:cubicBezTo>
                <a:close/>
                <a:moveTo>
                  <a:pt x="132292" y="85734"/>
                </a:moveTo>
                <a:cubicBezTo>
                  <a:pt x="135996" y="85734"/>
                  <a:pt x="138641" y="83089"/>
                  <a:pt x="138641" y="79385"/>
                </a:cubicBezTo>
                <a:cubicBezTo>
                  <a:pt x="138641" y="75681"/>
                  <a:pt x="135996" y="73036"/>
                  <a:pt x="132292" y="73036"/>
                </a:cubicBezTo>
                <a:lnTo>
                  <a:pt x="65616" y="73036"/>
                </a:lnTo>
                <a:cubicBezTo>
                  <a:pt x="61912" y="73036"/>
                  <a:pt x="59266" y="75681"/>
                  <a:pt x="59266" y="79385"/>
                </a:cubicBezTo>
                <a:lnTo>
                  <a:pt x="59266" y="109014"/>
                </a:lnTo>
                <a:cubicBezTo>
                  <a:pt x="59266" y="112718"/>
                  <a:pt x="61912" y="115363"/>
                  <a:pt x="65616" y="115363"/>
                </a:cubicBezTo>
                <a:lnTo>
                  <a:pt x="132292" y="115363"/>
                </a:lnTo>
                <a:cubicBezTo>
                  <a:pt x="135996" y="115363"/>
                  <a:pt x="138641" y="112718"/>
                  <a:pt x="138641" y="109014"/>
                </a:cubicBezTo>
                <a:cubicBezTo>
                  <a:pt x="138641" y="105310"/>
                  <a:pt x="135996" y="102665"/>
                  <a:pt x="132292" y="102665"/>
                </a:cubicBezTo>
                <a:lnTo>
                  <a:pt x="71967" y="102665"/>
                </a:lnTo>
                <a:lnTo>
                  <a:pt x="71967" y="85734"/>
                </a:lnTo>
                <a:lnTo>
                  <a:pt x="132292" y="85734"/>
                </a:lnTo>
                <a:close/>
                <a:moveTo>
                  <a:pt x="148696" y="105839"/>
                </a:moveTo>
                <a:cubicBezTo>
                  <a:pt x="148696" y="67745"/>
                  <a:pt x="179917" y="37057"/>
                  <a:pt x="217487" y="37057"/>
                </a:cubicBezTo>
                <a:cubicBezTo>
                  <a:pt x="255058" y="37057"/>
                  <a:pt x="286279" y="68274"/>
                  <a:pt x="286279" y="105839"/>
                </a:cubicBezTo>
                <a:cubicBezTo>
                  <a:pt x="286279" y="143935"/>
                  <a:pt x="255058" y="174622"/>
                  <a:pt x="217487" y="174622"/>
                </a:cubicBezTo>
                <a:cubicBezTo>
                  <a:pt x="179917" y="174622"/>
                  <a:pt x="148696" y="143935"/>
                  <a:pt x="148696" y="105839"/>
                </a:cubicBezTo>
                <a:close/>
                <a:moveTo>
                  <a:pt x="161396" y="105839"/>
                </a:moveTo>
                <a:cubicBezTo>
                  <a:pt x="161396" y="137056"/>
                  <a:pt x="186796" y="161924"/>
                  <a:pt x="217487" y="161924"/>
                </a:cubicBezTo>
                <a:cubicBezTo>
                  <a:pt x="248179" y="161924"/>
                  <a:pt x="273579" y="136527"/>
                  <a:pt x="273579" y="105839"/>
                </a:cubicBezTo>
                <a:cubicBezTo>
                  <a:pt x="273579" y="74623"/>
                  <a:pt x="248179" y="49755"/>
                  <a:pt x="217487" y="49755"/>
                </a:cubicBezTo>
                <a:cubicBezTo>
                  <a:pt x="186796" y="49755"/>
                  <a:pt x="161396" y="74623"/>
                  <a:pt x="161396" y="105839"/>
                </a:cubicBezTo>
                <a:close/>
                <a:moveTo>
                  <a:pt x="170391" y="180443"/>
                </a:moveTo>
                <a:lnTo>
                  <a:pt x="158221" y="192611"/>
                </a:lnTo>
                <a:cubicBezTo>
                  <a:pt x="157162" y="193670"/>
                  <a:pt x="155575" y="194728"/>
                  <a:pt x="153458" y="194728"/>
                </a:cubicBezTo>
                <a:cubicBezTo>
                  <a:pt x="152929" y="194728"/>
                  <a:pt x="152929" y="194728"/>
                  <a:pt x="152400" y="194728"/>
                </a:cubicBezTo>
                <a:lnTo>
                  <a:pt x="114300" y="236527"/>
                </a:lnTo>
                <a:cubicBezTo>
                  <a:pt x="110596" y="240230"/>
                  <a:pt x="105833" y="242347"/>
                  <a:pt x="100542" y="242347"/>
                </a:cubicBezTo>
                <a:lnTo>
                  <a:pt x="100542" y="242347"/>
                </a:lnTo>
                <a:cubicBezTo>
                  <a:pt x="95250" y="242347"/>
                  <a:pt x="90487" y="240230"/>
                  <a:pt x="86783" y="236527"/>
                </a:cubicBezTo>
                <a:cubicBezTo>
                  <a:pt x="79375" y="229119"/>
                  <a:pt x="79375" y="216950"/>
                  <a:pt x="86783" y="209013"/>
                </a:cubicBezTo>
                <a:lnTo>
                  <a:pt x="128587" y="170390"/>
                </a:lnTo>
                <a:cubicBezTo>
                  <a:pt x="128587" y="168802"/>
                  <a:pt x="129116" y="166686"/>
                  <a:pt x="130175" y="165099"/>
                </a:cubicBezTo>
                <a:lnTo>
                  <a:pt x="142346" y="152929"/>
                </a:lnTo>
                <a:cubicBezTo>
                  <a:pt x="144462" y="150813"/>
                  <a:pt x="148696" y="150284"/>
                  <a:pt x="151342" y="152929"/>
                </a:cubicBezTo>
                <a:lnTo>
                  <a:pt x="169862" y="171448"/>
                </a:lnTo>
                <a:cubicBezTo>
                  <a:pt x="170921" y="172506"/>
                  <a:pt x="171979" y="174093"/>
                  <a:pt x="171979" y="176210"/>
                </a:cubicBezTo>
                <a:cubicBezTo>
                  <a:pt x="172508" y="177797"/>
                  <a:pt x="171979" y="179384"/>
                  <a:pt x="170391" y="180443"/>
                </a:cubicBezTo>
                <a:close/>
                <a:moveTo>
                  <a:pt x="142875" y="186262"/>
                </a:moveTo>
                <a:lnTo>
                  <a:pt x="137054" y="180443"/>
                </a:lnTo>
                <a:lnTo>
                  <a:pt x="95779" y="218008"/>
                </a:lnTo>
                <a:cubicBezTo>
                  <a:pt x="93133" y="220654"/>
                  <a:pt x="93133" y="224357"/>
                  <a:pt x="95779" y="227003"/>
                </a:cubicBezTo>
                <a:cubicBezTo>
                  <a:pt x="96837" y="228061"/>
                  <a:pt x="98954" y="229119"/>
                  <a:pt x="100542" y="229119"/>
                </a:cubicBezTo>
                <a:cubicBezTo>
                  <a:pt x="102129" y="229119"/>
                  <a:pt x="103717" y="228590"/>
                  <a:pt x="105304" y="227003"/>
                </a:cubicBezTo>
                <a:lnTo>
                  <a:pt x="142875" y="186262"/>
                </a:lnTo>
                <a:close/>
                <a:moveTo>
                  <a:pt x="157162" y="176210"/>
                </a:moveTo>
                <a:lnTo>
                  <a:pt x="147637" y="166686"/>
                </a:lnTo>
                <a:lnTo>
                  <a:pt x="144462" y="169861"/>
                </a:lnTo>
                <a:lnTo>
                  <a:pt x="153987" y="179384"/>
                </a:lnTo>
                <a:lnTo>
                  <a:pt x="157162" y="176210"/>
                </a:lnTo>
                <a:close/>
                <a:moveTo>
                  <a:pt x="29633" y="154517"/>
                </a:moveTo>
                <a:cubicBezTo>
                  <a:pt x="29633" y="158220"/>
                  <a:pt x="32279" y="160866"/>
                  <a:pt x="35983" y="160866"/>
                </a:cubicBezTo>
                <a:lnTo>
                  <a:pt x="115887" y="160866"/>
                </a:lnTo>
                <a:cubicBezTo>
                  <a:pt x="119592" y="160866"/>
                  <a:pt x="122237" y="158220"/>
                  <a:pt x="122237" y="154517"/>
                </a:cubicBezTo>
                <a:cubicBezTo>
                  <a:pt x="122237" y="150813"/>
                  <a:pt x="119592" y="148167"/>
                  <a:pt x="115887" y="148167"/>
                </a:cubicBezTo>
                <a:lnTo>
                  <a:pt x="35983" y="148167"/>
                </a:lnTo>
                <a:cubicBezTo>
                  <a:pt x="32279" y="148167"/>
                  <a:pt x="29633" y="150813"/>
                  <a:pt x="29633" y="154517"/>
                </a:cubicBezTo>
                <a:close/>
                <a:moveTo>
                  <a:pt x="186266" y="121712"/>
                </a:moveTo>
                <a:lnTo>
                  <a:pt x="187854" y="118009"/>
                </a:lnTo>
                <a:lnTo>
                  <a:pt x="189442" y="121712"/>
                </a:lnTo>
                <a:cubicBezTo>
                  <a:pt x="190500" y="123829"/>
                  <a:pt x="192616" y="125416"/>
                  <a:pt x="195262" y="125416"/>
                </a:cubicBezTo>
                <a:cubicBezTo>
                  <a:pt x="196321" y="125416"/>
                  <a:pt x="197379" y="125416"/>
                  <a:pt x="197908" y="124887"/>
                </a:cubicBezTo>
                <a:cubicBezTo>
                  <a:pt x="201083" y="123300"/>
                  <a:pt x="202141" y="119596"/>
                  <a:pt x="200554" y="116421"/>
                </a:cubicBezTo>
                <a:lnTo>
                  <a:pt x="194733" y="104252"/>
                </a:lnTo>
                <a:lnTo>
                  <a:pt x="200554" y="92083"/>
                </a:lnTo>
                <a:cubicBezTo>
                  <a:pt x="202141" y="88909"/>
                  <a:pt x="201083" y="85205"/>
                  <a:pt x="197908" y="83618"/>
                </a:cubicBezTo>
                <a:cubicBezTo>
                  <a:pt x="194733" y="82030"/>
                  <a:pt x="191029" y="83089"/>
                  <a:pt x="189442" y="86263"/>
                </a:cubicBezTo>
                <a:lnTo>
                  <a:pt x="187854" y="89966"/>
                </a:lnTo>
                <a:lnTo>
                  <a:pt x="186266" y="86263"/>
                </a:lnTo>
                <a:cubicBezTo>
                  <a:pt x="184679" y="83089"/>
                  <a:pt x="180975" y="82030"/>
                  <a:pt x="177800" y="83618"/>
                </a:cubicBezTo>
                <a:cubicBezTo>
                  <a:pt x="174625" y="85205"/>
                  <a:pt x="173567" y="88909"/>
                  <a:pt x="175154" y="92083"/>
                </a:cubicBezTo>
                <a:lnTo>
                  <a:pt x="180975" y="104252"/>
                </a:lnTo>
                <a:lnTo>
                  <a:pt x="175154" y="116421"/>
                </a:lnTo>
                <a:cubicBezTo>
                  <a:pt x="173567" y="119596"/>
                  <a:pt x="174625" y="123300"/>
                  <a:pt x="177800" y="124887"/>
                </a:cubicBezTo>
                <a:cubicBezTo>
                  <a:pt x="178858" y="125416"/>
                  <a:pt x="179917" y="125416"/>
                  <a:pt x="180446" y="125416"/>
                </a:cubicBezTo>
                <a:cubicBezTo>
                  <a:pt x="183092" y="125416"/>
                  <a:pt x="185208" y="123829"/>
                  <a:pt x="186266" y="121712"/>
                </a:cubicBezTo>
                <a:close/>
                <a:moveTo>
                  <a:pt x="207433" y="124358"/>
                </a:moveTo>
                <a:cubicBezTo>
                  <a:pt x="208491" y="124887"/>
                  <a:pt x="209550" y="124887"/>
                  <a:pt x="210079" y="124887"/>
                </a:cubicBezTo>
                <a:cubicBezTo>
                  <a:pt x="212196" y="124887"/>
                  <a:pt x="214842" y="123829"/>
                  <a:pt x="215900" y="121183"/>
                </a:cubicBezTo>
                <a:lnTo>
                  <a:pt x="217487" y="117480"/>
                </a:lnTo>
                <a:lnTo>
                  <a:pt x="219075" y="121183"/>
                </a:lnTo>
                <a:cubicBezTo>
                  <a:pt x="220133" y="123300"/>
                  <a:pt x="222250" y="124887"/>
                  <a:pt x="224896" y="124887"/>
                </a:cubicBezTo>
                <a:cubicBezTo>
                  <a:pt x="225954" y="124887"/>
                  <a:pt x="227012" y="124887"/>
                  <a:pt x="227542" y="124358"/>
                </a:cubicBezTo>
                <a:cubicBezTo>
                  <a:pt x="230717" y="122771"/>
                  <a:pt x="231775" y="119067"/>
                  <a:pt x="230188" y="115892"/>
                </a:cubicBezTo>
                <a:lnTo>
                  <a:pt x="224366" y="103723"/>
                </a:lnTo>
                <a:lnTo>
                  <a:pt x="230188" y="91554"/>
                </a:lnTo>
                <a:cubicBezTo>
                  <a:pt x="231775" y="88380"/>
                  <a:pt x="230717" y="84675"/>
                  <a:pt x="227542" y="83089"/>
                </a:cubicBezTo>
                <a:cubicBezTo>
                  <a:pt x="224366" y="81501"/>
                  <a:pt x="220662" y="82560"/>
                  <a:pt x="219075" y="85734"/>
                </a:cubicBezTo>
                <a:lnTo>
                  <a:pt x="217487" y="89437"/>
                </a:lnTo>
                <a:lnTo>
                  <a:pt x="215900" y="85734"/>
                </a:lnTo>
                <a:cubicBezTo>
                  <a:pt x="214313" y="82560"/>
                  <a:pt x="210608" y="81501"/>
                  <a:pt x="207433" y="83089"/>
                </a:cubicBezTo>
                <a:cubicBezTo>
                  <a:pt x="204258" y="84675"/>
                  <a:pt x="203200" y="88380"/>
                  <a:pt x="204787" y="91554"/>
                </a:cubicBezTo>
                <a:lnTo>
                  <a:pt x="210608" y="103723"/>
                </a:lnTo>
                <a:lnTo>
                  <a:pt x="204787" y="115892"/>
                </a:lnTo>
                <a:cubicBezTo>
                  <a:pt x="203200" y="119067"/>
                  <a:pt x="204258" y="122771"/>
                  <a:pt x="207433" y="124358"/>
                </a:cubicBezTo>
                <a:close/>
                <a:moveTo>
                  <a:pt x="237067" y="124358"/>
                </a:moveTo>
                <a:cubicBezTo>
                  <a:pt x="238125" y="124887"/>
                  <a:pt x="239183" y="124887"/>
                  <a:pt x="239712" y="124887"/>
                </a:cubicBezTo>
                <a:cubicBezTo>
                  <a:pt x="241829" y="124887"/>
                  <a:pt x="244475" y="123829"/>
                  <a:pt x="245533" y="121183"/>
                </a:cubicBezTo>
                <a:lnTo>
                  <a:pt x="247121" y="117480"/>
                </a:lnTo>
                <a:lnTo>
                  <a:pt x="248708" y="121183"/>
                </a:lnTo>
                <a:cubicBezTo>
                  <a:pt x="249766" y="123300"/>
                  <a:pt x="251883" y="124887"/>
                  <a:pt x="254529" y="124887"/>
                </a:cubicBezTo>
                <a:cubicBezTo>
                  <a:pt x="255587" y="124887"/>
                  <a:pt x="256646" y="124887"/>
                  <a:pt x="257175" y="124358"/>
                </a:cubicBezTo>
                <a:cubicBezTo>
                  <a:pt x="260350" y="122771"/>
                  <a:pt x="261408" y="119067"/>
                  <a:pt x="259821" y="115892"/>
                </a:cubicBezTo>
                <a:lnTo>
                  <a:pt x="254000" y="103723"/>
                </a:lnTo>
                <a:lnTo>
                  <a:pt x="259821" y="91554"/>
                </a:lnTo>
                <a:cubicBezTo>
                  <a:pt x="261408" y="88380"/>
                  <a:pt x="260350" y="84675"/>
                  <a:pt x="257175" y="83089"/>
                </a:cubicBezTo>
                <a:cubicBezTo>
                  <a:pt x="254000" y="81501"/>
                  <a:pt x="250296" y="82560"/>
                  <a:pt x="248708" y="85734"/>
                </a:cubicBezTo>
                <a:lnTo>
                  <a:pt x="247121" y="89437"/>
                </a:lnTo>
                <a:lnTo>
                  <a:pt x="245533" y="85734"/>
                </a:lnTo>
                <a:cubicBezTo>
                  <a:pt x="243946" y="82560"/>
                  <a:pt x="240241" y="81501"/>
                  <a:pt x="237067" y="83089"/>
                </a:cubicBezTo>
                <a:cubicBezTo>
                  <a:pt x="233891" y="84675"/>
                  <a:pt x="232833" y="88380"/>
                  <a:pt x="234421" y="91554"/>
                </a:cubicBezTo>
                <a:lnTo>
                  <a:pt x="240241" y="103723"/>
                </a:lnTo>
                <a:lnTo>
                  <a:pt x="234421" y="115892"/>
                </a:lnTo>
                <a:cubicBezTo>
                  <a:pt x="232833" y="119067"/>
                  <a:pt x="234421" y="122771"/>
                  <a:pt x="237067" y="124358"/>
                </a:cubicBezTo>
                <a:close/>
              </a:path>
            </a:pathLst>
          </a:custGeom>
          <a:solidFill>
            <a:schemeClr val="bg1"/>
          </a:solidFill>
          <a:ln>
            <a:noFill/>
          </a:ln>
        </p:spPr>
        <p:txBody>
          <a:bodyPr spcFirstLastPara="1" wrap="square" lIns="91425" tIns="45700" rIns="91425" bIns="45700" anchor="ctr" anchorCtr="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800" b="0" i="0" u="none" strike="noStrike" kern="1200" cap="none" spc="0" normalizeH="0" baseline="0" noProof="0">
              <a:ln>
                <a:noFill/>
              </a:ln>
              <a:solidFill>
                <a:srgbClr val="000000"/>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42910824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kt 4" hidden="1">
            <a:extLst>
              <a:ext uri="{FF2B5EF4-FFF2-40B4-BE49-F238E27FC236}">
                <a16:creationId xmlns:a16="http://schemas.microsoft.com/office/drawing/2014/main" id="{1A3F06DB-51F0-4893-A45B-2784C14750B6}"/>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360" imgH="359" progId="TCLayout.ActiveDocument.1">
                  <p:embed/>
                </p:oleObj>
              </mc:Choice>
              <mc:Fallback>
                <p:oleObj name="think-cell Folie" r:id="rId4" imgW="360" imgH="359" progId="TCLayout.ActiveDocument.1">
                  <p:embed/>
                  <p:pic>
                    <p:nvPicPr>
                      <p:cNvPr id="5" name="Objekt 4" hidden="1">
                        <a:extLst>
                          <a:ext uri="{FF2B5EF4-FFF2-40B4-BE49-F238E27FC236}">
                            <a16:creationId xmlns:a16="http://schemas.microsoft.com/office/drawing/2014/main" id="{1A3F06DB-51F0-4893-A45B-2784C14750B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5" name="Rechteck 14">
            <a:extLst>
              <a:ext uri="{FF2B5EF4-FFF2-40B4-BE49-F238E27FC236}">
                <a16:creationId xmlns:a16="http://schemas.microsoft.com/office/drawing/2014/main" id="{8982A51C-0EA9-494D-BA52-786D9AAE58E2}"/>
              </a:ext>
            </a:extLst>
          </p:cNvPr>
          <p:cNvSpPr/>
          <p:nvPr/>
        </p:nvSpPr>
        <p:spPr>
          <a:xfrm>
            <a:off x="1349297" y="1670984"/>
            <a:ext cx="3814043" cy="4143612"/>
          </a:xfrm>
          <a:prstGeom prst="rect">
            <a:avLst/>
          </a:prstGeom>
          <a:solidFill>
            <a:schemeClr val="bg1">
              <a:lumMod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sp>
        <p:nvSpPr>
          <p:cNvPr id="22" name="Rechteck 21">
            <a:extLst>
              <a:ext uri="{FF2B5EF4-FFF2-40B4-BE49-F238E27FC236}">
                <a16:creationId xmlns:a16="http://schemas.microsoft.com/office/drawing/2014/main" id="{4A704E81-A661-4947-B146-2A16527E80D1}"/>
              </a:ext>
            </a:extLst>
          </p:cNvPr>
          <p:cNvSpPr/>
          <p:nvPr/>
        </p:nvSpPr>
        <p:spPr>
          <a:xfrm>
            <a:off x="5904074" y="1670984"/>
            <a:ext cx="5027162" cy="4143612"/>
          </a:xfrm>
          <a:prstGeom prst="rect">
            <a:avLst/>
          </a:prstGeom>
          <a:solidFill>
            <a:srgbClr val="28828B"/>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altLang="de-DE" sz="1200" b="0" i="0" u="none" strike="noStrike" kern="1200" cap="none" spc="0" normalizeH="0" baseline="0" noProof="0">
              <a:ln>
                <a:noFill/>
              </a:ln>
              <a:solidFill>
                <a:srgbClr val="FFFFFF"/>
              </a:solidFill>
              <a:effectLst/>
              <a:uLnTx/>
              <a:uFillTx/>
              <a:latin typeface="HelveticaNeueLT Pro 55 Roman" pitchFamily="34" charset="0"/>
              <a:ea typeface="+mn-ea"/>
              <a:cs typeface="+mn-cs"/>
            </a:endParaRPr>
          </a:p>
        </p:txBody>
      </p:sp>
      <p:pic>
        <p:nvPicPr>
          <p:cNvPr id="16" name="Grafik 15">
            <a:extLst>
              <a:ext uri="{FF2B5EF4-FFF2-40B4-BE49-F238E27FC236}">
                <a16:creationId xmlns:a16="http://schemas.microsoft.com/office/drawing/2014/main" id="{780288D6-DD78-4716-8203-993B32061381}"/>
              </a:ext>
            </a:extLst>
          </p:cNvPr>
          <p:cNvPicPr>
            <a:picLocks noChangeAspect="1"/>
          </p:cNvPicPr>
          <p:nvPr/>
        </p:nvPicPr>
        <p:blipFill rotWithShape="1">
          <a:blip r:embed="rId6"/>
          <a:srcRect l="39174" r="-3221" b="12134"/>
          <a:stretch/>
        </p:blipFill>
        <p:spPr>
          <a:xfrm>
            <a:off x="10614713" y="406111"/>
            <a:ext cx="1352665" cy="571988"/>
          </a:xfrm>
          <a:prstGeom prst="rect">
            <a:avLst/>
          </a:prstGeom>
        </p:spPr>
      </p:pic>
      <p:sp>
        <p:nvSpPr>
          <p:cNvPr id="18" name="Rechteck 17">
            <a:extLst>
              <a:ext uri="{FF2B5EF4-FFF2-40B4-BE49-F238E27FC236}">
                <a16:creationId xmlns:a16="http://schemas.microsoft.com/office/drawing/2014/main" id="{8982A51C-0EA9-494D-BA52-786D9AAE58E2}"/>
              </a:ext>
            </a:extLst>
          </p:cNvPr>
          <p:cNvSpPr/>
          <p:nvPr/>
        </p:nvSpPr>
        <p:spPr>
          <a:xfrm>
            <a:off x="1563655" y="1696840"/>
            <a:ext cx="3580954"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Traditionelle Banken</a:t>
            </a:r>
          </a:p>
        </p:txBody>
      </p:sp>
      <p:sp>
        <p:nvSpPr>
          <p:cNvPr id="21" name="Rechteck 20">
            <a:extLst>
              <a:ext uri="{FF2B5EF4-FFF2-40B4-BE49-F238E27FC236}">
                <a16:creationId xmlns:a16="http://schemas.microsoft.com/office/drawing/2014/main" id="{8982A51C-0EA9-494D-BA52-786D9AAE58E2}"/>
              </a:ext>
            </a:extLst>
          </p:cNvPr>
          <p:cNvSpPr/>
          <p:nvPr/>
        </p:nvSpPr>
        <p:spPr>
          <a:xfrm>
            <a:off x="6094158" y="2446457"/>
            <a:ext cx="4837078"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FFFFFF"/>
                </a:solidFill>
                <a:effectLst/>
                <a:uLnTx/>
                <a:uFillTx/>
                <a:latin typeface="Corona LT"/>
                <a:ea typeface="+mn-ea"/>
                <a:cs typeface="+mn-cs"/>
              </a:rPr>
              <a:t>Online Devisenhandel 24/7</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FFFFFF"/>
                </a:solidFill>
                <a:effectLst/>
                <a:uLnTx/>
                <a:uFillTx/>
                <a:latin typeface="Corona LT"/>
                <a:ea typeface="+mn-ea"/>
                <a:cs typeface="+mn-cs"/>
              </a:rPr>
              <a:t>Tiefe Kundenmarge (max. 0.40%)</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FFFFFF"/>
                </a:solidFill>
                <a:effectLst/>
                <a:uLnTx/>
                <a:uFillTx/>
                <a:latin typeface="Corona LT"/>
                <a:ea typeface="+mn-ea"/>
                <a:cs typeface="+mn-cs"/>
              </a:rPr>
              <a:t>Einfacher Währungswechsel ohne Mindestbetrag</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err="1">
                <a:ln>
                  <a:noFill/>
                </a:ln>
                <a:solidFill>
                  <a:srgbClr val="FFFFFF"/>
                </a:solidFill>
                <a:effectLst/>
                <a:uLnTx/>
                <a:uFillTx/>
                <a:latin typeface="Corona LT"/>
                <a:ea typeface="+mn-ea"/>
                <a:cs typeface="+mn-cs"/>
              </a:rPr>
              <a:t>Cashback</a:t>
            </a:r>
            <a:r>
              <a:rPr kumimoji="0" lang="de-CH" sz="1200" b="0" i="0" u="none" strike="noStrike" kern="1200" cap="none" spc="0" normalizeH="0" baseline="0" noProof="0" dirty="0">
                <a:ln>
                  <a:noFill/>
                </a:ln>
                <a:solidFill>
                  <a:srgbClr val="FFFFFF"/>
                </a:solidFill>
                <a:effectLst/>
                <a:uLnTx/>
                <a:uFillTx/>
                <a:latin typeface="Corona LT"/>
                <a:ea typeface="+mn-ea"/>
                <a:cs typeface="+mn-cs"/>
              </a:rPr>
              <a:t> auf Devisenpositionen</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FFFFFF"/>
                </a:solidFill>
                <a:effectLst/>
                <a:uLnTx/>
                <a:uFillTx/>
                <a:latin typeface="Corona LT"/>
                <a:ea typeface="+mn-ea"/>
                <a:cs typeface="+mn-cs"/>
              </a:rPr>
              <a:t>Kostenlose Multiwährungs-Debitkarte</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FFFFFF"/>
                </a:solidFill>
                <a:effectLst/>
                <a:uLnTx/>
                <a:uFillTx/>
                <a:latin typeface="Corona LT"/>
                <a:ea typeface="+mn-ea"/>
                <a:cs typeface="+mn-cs"/>
              </a:rPr>
              <a:t>Einfach und sicher</a:t>
            </a:r>
          </a:p>
        </p:txBody>
      </p:sp>
      <p:sp>
        <p:nvSpPr>
          <p:cNvPr id="24" name="Ellipse 23">
            <a:extLst>
              <a:ext uri="{FF2B5EF4-FFF2-40B4-BE49-F238E27FC236}">
                <a16:creationId xmlns:a16="http://schemas.microsoft.com/office/drawing/2014/main" id="{471C4FA3-6EC6-49FE-BCB3-36B93B9F4DAD}"/>
              </a:ext>
            </a:extLst>
          </p:cNvPr>
          <p:cNvSpPr/>
          <p:nvPr/>
        </p:nvSpPr>
        <p:spPr>
          <a:xfrm>
            <a:off x="1562492" y="2744390"/>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5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X</a:t>
            </a:r>
          </a:p>
        </p:txBody>
      </p:sp>
      <p:sp>
        <p:nvSpPr>
          <p:cNvPr id="65" name="Rechteck 64">
            <a:extLst>
              <a:ext uri="{FF2B5EF4-FFF2-40B4-BE49-F238E27FC236}">
                <a16:creationId xmlns:a16="http://schemas.microsoft.com/office/drawing/2014/main" id="{8982A51C-0EA9-494D-BA52-786D9AAE58E2}"/>
              </a:ext>
            </a:extLst>
          </p:cNvPr>
          <p:cNvSpPr/>
          <p:nvPr/>
        </p:nvSpPr>
        <p:spPr>
          <a:xfrm>
            <a:off x="1275622" y="2523831"/>
            <a:ext cx="3961395" cy="3568132"/>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ts val="2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28828B"/>
                </a:solidFill>
                <a:effectLst/>
                <a:uLnTx/>
                <a:uFillTx/>
                <a:latin typeface="Corona LT"/>
                <a:ea typeface="+mn-ea"/>
                <a:cs typeface="+mn-cs"/>
              </a:rPr>
              <a:t>Devisenhandel nur während</a:t>
            </a:r>
          </a:p>
          <a:p>
            <a:pPr marL="0" marR="0" lvl="0" indent="0" algn="l" defTabSz="914400" rtl="0" eaLnBrk="1" fontAlgn="auto" latinLnBrk="0" hangingPunct="1">
              <a:lnSpc>
                <a:spcPts val="2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28828B"/>
                </a:solidFill>
                <a:effectLst/>
                <a:uLnTx/>
                <a:uFillTx/>
                <a:latin typeface="Corona LT"/>
                <a:ea typeface="+mn-ea"/>
                <a:cs typeface="+mn-cs"/>
              </a:rPr>
              <a:t>Banköffnungszeiten</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28828B"/>
                </a:solidFill>
                <a:effectLst/>
                <a:uLnTx/>
                <a:uFillTx/>
                <a:latin typeface="Corona LT"/>
                <a:ea typeface="+mn-ea"/>
                <a:cs typeface="+mn-cs"/>
              </a:rPr>
              <a:t>Kundenmarge zwischen 1 – 2,5%</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28828B"/>
                </a:solidFill>
                <a:effectLst/>
                <a:uLnTx/>
                <a:uFillTx/>
                <a:latin typeface="Corona LT"/>
                <a:ea typeface="+mn-ea"/>
                <a:cs typeface="+mn-cs"/>
              </a:rPr>
              <a:t>Mindestbetrag erforderlich</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28828B"/>
                </a:solidFill>
                <a:effectLst/>
                <a:uLnTx/>
                <a:uFillTx/>
                <a:latin typeface="Corona LT"/>
                <a:ea typeface="+mn-ea"/>
                <a:cs typeface="+mn-cs"/>
              </a:rPr>
              <a:t>Keine Verzinsung auf Fremdwährungen</a:t>
            </a:r>
          </a:p>
          <a:p>
            <a:pPr>
              <a:lnSpc>
                <a:spcPts val="3000"/>
              </a:lnSpc>
            </a:pPr>
            <a:r>
              <a:rPr kumimoji="0" lang="de-CH" sz="1200" b="0" i="0" u="none" strike="noStrike" kern="1200" cap="none" spc="0" normalizeH="0" baseline="0" noProof="0" dirty="0">
                <a:ln>
                  <a:noFill/>
                </a:ln>
                <a:solidFill>
                  <a:srgbClr val="28828B"/>
                </a:solidFill>
                <a:effectLst/>
                <a:uLnTx/>
                <a:uFillTx/>
                <a:latin typeface="Corona LT"/>
                <a:ea typeface="+mn-ea"/>
                <a:cs typeface="+mn-cs"/>
              </a:rPr>
              <a:t>Kostenpflichtiges Kartenangebot</a:t>
            </a:r>
          </a:p>
          <a:p>
            <a:pPr marL="0" marR="0" lvl="0" indent="0" algn="l" defTabSz="914400" rtl="0" eaLnBrk="1" fontAlgn="auto" latinLnBrk="0" hangingPunct="1">
              <a:lnSpc>
                <a:spcPts val="3000"/>
              </a:lnSpc>
              <a:spcBef>
                <a:spcPts val="0"/>
              </a:spcBef>
              <a:spcAft>
                <a:spcPts val="0"/>
              </a:spcAft>
              <a:buClrTx/>
              <a:buSzTx/>
              <a:buFontTx/>
              <a:buNone/>
              <a:tabLst/>
              <a:defRPr/>
            </a:pPr>
            <a:r>
              <a:rPr kumimoji="0" lang="de-CH" sz="1200" b="0" i="0" u="none" strike="noStrike" kern="1200" cap="none" spc="0" normalizeH="0" baseline="0" noProof="0" dirty="0">
                <a:ln>
                  <a:noFill/>
                </a:ln>
                <a:solidFill>
                  <a:srgbClr val="28828B"/>
                </a:solidFill>
                <a:effectLst/>
                <a:uLnTx/>
                <a:uFillTx/>
                <a:latin typeface="Corona LT"/>
                <a:ea typeface="+mn-ea"/>
                <a:cs typeface="+mn-cs"/>
              </a:rPr>
              <a:t>Sicher, aber zeitaufwändig</a:t>
            </a:r>
          </a:p>
        </p:txBody>
      </p:sp>
      <p:sp>
        <p:nvSpPr>
          <p:cNvPr id="66" name="Rechteck 65">
            <a:extLst>
              <a:ext uri="{FF2B5EF4-FFF2-40B4-BE49-F238E27FC236}">
                <a16:creationId xmlns:a16="http://schemas.microsoft.com/office/drawing/2014/main" id="{8982A51C-0EA9-494D-BA52-786D9AAE58E2}"/>
              </a:ext>
            </a:extLst>
          </p:cNvPr>
          <p:cNvSpPr/>
          <p:nvPr/>
        </p:nvSpPr>
        <p:spPr>
          <a:xfrm>
            <a:off x="6166167" y="1700808"/>
            <a:ext cx="3921348" cy="471204"/>
          </a:xfrm>
          <a:prstGeom prst="rect">
            <a:avLst/>
          </a:prstGeom>
          <a:no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0" tIns="144000" rIns="144000" bIns="144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0" lang="de-CH" sz="1800" b="1" i="0" u="none" strike="noStrike" kern="1200" cap="none" spc="0" normalizeH="0" baseline="0" noProof="0">
                <a:ln>
                  <a:noFill/>
                </a:ln>
                <a:solidFill>
                  <a:srgbClr val="FFFFFF"/>
                </a:solidFill>
                <a:effectLst/>
                <a:uLnTx/>
                <a:uFillTx/>
                <a:latin typeface="HelveticaNeueLT Com 55 Roman"/>
                <a:ea typeface="+mn-ea"/>
                <a:cs typeface="+mn-cs"/>
              </a:rPr>
              <a:t>Web-App </a:t>
            </a:r>
            <a:r>
              <a:rPr kumimoji="0" lang="de-CH" sz="1800" b="1" i="0" u="none" strike="noStrike" kern="1200" cap="none" spc="0" normalizeH="0" baseline="0" noProof="0" err="1">
                <a:ln>
                  <a:noFill/>
                </a:ln>
                <a:solidFill>
                  <a:srgbClr val="FFFFFF"/>
                </a:solidFill>
                <a:effectLst/>
                <a:uLnTx/>
                <a:uFillTx/>
                <a:latin typeface="HelveticaNeueLT Com 55 Roman"/>
                <a:ea typeface="+mn-ea"/>
                <a:cs typeface="+mn-cs"/>
              </a:rPr>
              <a:t>amnis</a:t>
            </a:r>
            <a:endParaRPr kumimoji="0" lang="de-CH" sz="1800" b="1" i="0" u="none" strike="noStrike" kern="1200" cap="none" spc="0" normalizeH="0" baseline="0" noProof="0">
              <a:ln>
                <a:noFill/>
              </a:ln>
              <a:solidFill>
                <a:srgbClr val="FFFFFF"/>
              </a:solidFill>
              <a:effectLst/>
              <a:uLnTx/>
              <a:uFillTx/>
              <a:latin typeface="HelveticaNeueLT Com 55 Roman"/>
              <a:ea typeface="+mn-ea"/>
              <a:cs typeface="+mn-cs"/>
            </a:endParaRPr>
          </a:p>
        </p:txBody>
      </p:sp>
      <p:sp>
        <p:nvSpPr>
          <p:cNvPr id="69" name="Titel 3">
            <a:extLst>
              <a:ext uri="{FF2B5EF4-FFF2-40B4-BE49-F238E27FC236}">
                <a16:creationId xmlns:a16="http://schemas.microsoft.com/office/drawing/2014/main" id="{41338E64-746C-42F4-B5A5-97E5A6DEDFDF}"/>
              </a:ext>
            </a:extLst>
          </p:cNvPr>
          <p:cNvSpPr txBox="1">
            <a:spLocks/>
          </p:cNvSpPr>
          <p:nvPr/>
        </p:nvSpPr>
        <p:spPr bwMode="auto">
          <a:xfrm>
            <a:off x="505315" y="518475"/>
            <a:ext cx="10751363" cy="1008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00000"/>
              </a:lnSpc>
              <a:spcBef>
                <a:spcPts val="0"/>
              </a:spcBef>
              <a:spcAft>
                <a:spcPts val="0"/>
              </a:spcAft>
              <a:buClrTx/>
              <a:buSzTx/>
              <a:buFontTx/>
              <a:buNone/>
              <a:tabLst/>
              <a:defRPr/>
            </a:pPr>
            <a:r>
              <a:rPr lang="de-CH" dirty="0"/>
              <a:t>FX Trading</a:t>
            </a:r>
            <a:br>
              <a:rPr kumimoji="0" lang="de-DE" sz="2800" b="1" i="0" u="none" strike="noStrike" kern="1200" cap="none" spc="0" normalizeH="0" baseline="0" noProof="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DE" sz="1800" b="0" i="0" u="none" strike="noStrike" kern="1200" cap="none" spc="0" normalizeH="0" baseline="0" noProof="1">
                <a:ln>
                  <a:noFill/>
                </a:ln>
                <a:solidFill>
                  <a:srgbClr val="28828B"/>
                </a:solidFill>
                <a:effectLst/>
                <a:uLnTx/>
                <a:uFillTx/>
                <a:latin typeface="Corona LT" panose="02000604020000090004" pitchFamily="2" charset="0"/>
                <a:ea typeface="MS PGothic" panose="020B0600070205080204" pitchFamily="34" charset="-128"/>
                <a:cs typeface="Segoe UI" panose="020B0502040204020203" pitchFamily="34" charset="0"/>
              </a:rPr>
              <a:t>Ihre Alternative zu traditionellen Zahlungslösungen</a:t>
            </a:r>
            <a:endParaRPr kumimoji="0" lang="de-DE" sz="1800" b="0" i="0" u="none" strike="noStrike" kern="1200" cap="none" spc="0" normalizeH="0" baseline="0" noProof="1">
              <a:ln>
                <a:noFill/>
              </a:ln>
              <a:solidFill>
                <a:srgbClr val="FFFFFF">
                  <a:lumMod val="50000"/>
                </a:srgbClr>
              </a:solidFill>
              <a:effectLst/>
              <a:uLnTx/>
              <a:uFillTx/>
              <a:latin typeface="Corona LT" panose="02000604020000090004" pitchFamily="2" charset="0"/>
              <a:ea typeface="MS PGothic" panose="020B0600070205080204" pitchFamily="34" charset="-128"/>
              <a:cs typeface="Segoe UI" panose="020B0502040204020203" pitchFamily="34" charset="0"/>
            </a:endParaRPr>
          </a:p>
        </p:txBody>
      </p:sp>
      <p:grpSp>
        <p:nvGrpSpPr>
          <p:cNvPr id="2" name="Gruppieren 1">
            <a:extLst>
              <a:ext uri="{FF2B5EF4-FFF2-40B4-BE49-F238E27FC236}">
                <a16:creationId xmlns:a16="http://schemas.microsoft.com/office/drawing/2014/main" id="{6ABCDE1E-BBA3-4D2E-84FA-DB17DC6D4381}"/>
              </a:ext>
            </a:extLst>
          </p:cNvPr>
          <p:cNvGrpSpPr/>
          <p:nvPr/>
        </p:nvGrpSpPr>
        <p:grpSpPr>
          <a:xfrm>
            <a:off x="1555863" y="4812397"/>
            <a:ext cx="357921" cy="320073"/>
            <a:chOff x="767408" y="4526118"/>
            <a:chExt cx="347186" cy="320073"/>
          </a:xfrm>
        </p:grpSpPr>
        <p:sp>
          <p:nvSpPr>
            <p:cNvPr id="39" name="Ellipse 38">
              <a:extLst>
                <a:ext uri="{FF2B5EF4-FFF2-40B4-BE49-F238E27FC236}">
                  <a16:creationId xmlns:a16="http://schemas.microsoft.com/office/drawing/2014/main" id="{471C4FA3-6EC6-49FE-BCB3-36B93B9F4DAD}"/>
                </a:ext>
              </a:extLst>
            </p:cNvPr>
            <p:cNvSpPr/>
            <p:nvPr/>
          </p:nvSpPr>
          <p:spPr>
            <a:xfrm>
              <a:off x="767408" y="4558159"/>
              <a:ext cx="279362" cy="288032"/>
            </a:xfrm>
            <a:prstGeom prst="ellipse">
              <a:avLst/>
            </a:prstGeom>
            <a:solidFill>
              <a:srgbClr val="28828B"/>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70" name="Titel 3">
              <a:extLst>
                <a:ext uri="{FF2B5EF4-FFF2-40B4-BE49-F238E27FC236}">
                  <a16:creationId xmlns:a16="http://schemas.microsoft.com/office/drawing/2014/main" id="{466456DE-6435-43F5-AF0C-59748555C978}"/>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rgbClr val="FFFFFF"/>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74" name="Gruppieren 73">
            <a:extLst>
              <a:ext uri="{FF2B5EF4-FFF2-40B4-BE49-F238E27FC236}">
                <a16:creationId xmlns:a16="http://schemas.microsoft.com/office/drawing/2014/main" id="{61D088C4-7EBE-4ACD-BBAA-323DBF263B32}"/>
              </a:ext>
            </a:extLst>
          </p:cNvPr>
          <p:cNvGrpSpPr/>
          <p:nvPr/>
        </p:nvGrpSpPr>
        <p:grpSpPr>
          <a:xfrm rot="20585589">
            <a:off x="4977385" y="1326111"/>
            <a:ext cx="1260000" cy="1260000"/>
            <a:chOff x="7320136" y="620689"/>
            <a:chExt cx="1260000" cy="1260000"/>
          </a:xfrm>
        </p:grpSpPr>
        <p:sp>
          <p:nvSpPr>
            <p:cNvPr id="75" name="Ellipse 74">
              <a:extLst>
                <a:ext uri="{FF2B5EF4-FFF2-40B4-BE49-F238E27FC236}">
                  <a16:creationId xmlns:a16="http://schemas.microsoft.com/office/drawing/2014/main" id="{3F1AB958-EE5B-4DCD-A011-BF348B32A384}"/>
                </a:ext>
              </a:extLst>
            </p:cNvPr>
            <p:cNvSpPr/>
            <p:nvPr/>
          </p:nvSpPr>
          <p:spPr>
            <a:xfrm>
              <a:off x="7320136" y="620689"/>
              <a:ext cx="1260000" cy="1260000"/>
            </a:xfrm>
            <a:prstGeom prst="ellipse">
              <a:avLst/>
            </a:prstGeom>
            <a:solidFill>
              <a:srgbClr val="A5BB1A"/>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76" name="Rechteck 75">
              <a:extLst>
                <a:ext uri="{FF2B5EF4-FFF2-40B4-BE49-F238E27FC236}">
                  <a16:creationId xmlns:a16="http://schemas.microsoft.com/office/drawing/2014/main" id="{B7E0BD3F-9A2A-42A9-A52B-BE32AF8BD547}"/>
                </a:ext>
              </a:extLst>
            </p:cNvPr>
            <p:cNvSpPr/>
            <p:nvPr/>
          </p:nvSpPr>
          <p:spPr>
            <a:xfrm>
              <a:off x="7425389" y="982470"/>
              <a:ext cx="1085104" cy="461665"/>
            </a:xfrm>
            <a:prstGeom prst="rect">
              <a:avLst/>
            </a:prstGeom>
          </p:spPr>
          <p:txBody>
            <a:bodyPr wrap="non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de-CH" sz="1200" b="1" dirty="0" err="1">
                  <a:solidFill>
                    <a:srgbClr val="FFFFFF"/>
                  </a:solidFill>
                  <a:latin typeface="HelveticaNeueLT Com 55 Roman"/>
                  <a:hlinkClick r:id="rId7">
                    <a:extLst>
                      <a:ext uri="{A12FA001-AC4F-418D-AE19-62706E023703}">
                        <ahyp:hlinkClr xmlns:ahyp="http://schemas.microsoft.com/office/drawing/2018/hyperlinkcolor" val="tx"/>
                      </a:ext>
                    </a:extLst>
                  </a:hlinkClick>
                </a:rPr>
                <a:t>amnis</a:t>
              </a:r>
              <a:r>
                <a:rPr lang="de-CH" sz="1200" b="1" dirty="0">
                  <a:solidFill>
                    <a:srgbClr val="FFFFFF"/>
                  </a:solidFill>
                  <a:latin typeface="HelveticaNeueLT Com 55 Roman"/>
                  <a:hlinkClick r:id="rId7">
                    <a:extLst>
                      <a:ext uri="{A12FA001-AC4F-418D-AE19-62706E023703}">
                        <ahyp:hlinkClr xmlns:ahyp="http://schemas.microsoft.com/office/drawing/2018/hyperlinkcolor" val="tx"/>
                      </a:ext>
                    </a:extLst>
                  </a:hlinkClick>
                </a:rPr>
                <a:t> </a:t>
              </a:r>
              <a:br>
                <a:rPr lang="de-CH" sz="1200" b="1" dirty="0">
                  <a:solidFill>
                    <a:srgbClr val="FFFFFF"/>
                  </a:solidFill>
                  <a:latin typeface="HelveticaNeueLT Com 55 Roman"/>
                  <a:hlinkClick r:id="rId7">
                    <a:extLst>
                      <a:ext uri="{A12FA001-AC4F-418D-AE19-62706E023703}">
                        <ahyp:hlinkClr xmlns:ahyp="http://schemas.microsoft.com/office/drawing/2018/hyperlinkcolor" val="tx"/>
                      </a:ext>
                    </a:extLst>
                  </a:hlinkClick>
                </a:rPr>
              </a:br>
              <a:r>
                <a:rPr lang="de-CH" sz="1200" b="1" dirty="0">
                  <a:solidFill>
                    <a:srgbClr val="FFFFFF"/>
                  </a:solidFill>
                  <a:latin typeface="HelveticaNeueLT Com 55 Roman"/>
                  <a:hlinkClick r:id="rId7">
                    <a:extLst>
                      <a:ext uri="{A12FA001-AC4F-418D-AE19-62706E023703}">
                        <ahyp:hlinkClr xmlns:ahyp="http://schemas.microsoft.com/office/drawing/2018/hyperlinkcolor" val="tx"/>
                      </a:ext>
                    </a:extLst>
                  </a:hlinkClick>
                </a:rPr>
                <a:t>im Vergleich</a:t>
              </a:r>
              <a:endParaRPr kumimoji="0" lang="de-CH" sz="1200" b="1" i="0" strike="noStrike" kern="1200" cap="none" spc="0" normalizeH="0" baseline="0" noProof="0" dirty="0">
                <a:ln>
                  <a:noFill/>
                </a:ln>
                <a:solidFill>
                  <a:srgbClr val="FFFFFF"/>
                </a:solidFill>
                <a:effectLst/>
                <a:uLnTx/>
                <a:uFillTx/>
                <a:latin typeface="HelveticaNeueLT Com 55 Roman"/>
                <a:ea typeface="+mn-ea"/>
                <a:cs typeface="+mn-cs"/>
                <a:hlinkClick r:id="rId7">
                  <a:extLst>
                    <a:ext uri="{A12FA001-AC4F-418D-AE19-62706E023703}">
                      <ahyp:hlinkClr xmlns:ahyp="http://schemas.microsoft.com/office/drawing/2018/hyperlinkcolor" val="tx"/>
                    </a:ext>
                  </a:extLst>
                </a:hlinkClick>
              </a:endParaRPr>
            </a:p>
          </p:txBody>
        </p:sp>
      </p:grpSp>
      <p:sp>
        <p:nvSpPr>
          <p:cNvPr id="3" name="Ellipse 2">
            <a:extLst>
              <a:ext uri="{FF2B5EF4-FFF2-40B4-BE49-F238E27FC236}">
                <a16:creationId xmlns:a16="http://schemas.microsoft.com/office/drawing/2014/main" id="{2497829F-2495-CE28-1DAF-13C9E7550EF0}"/>
              </a:ext>
            </a:extLst>
          </p:cNvPr>
          <p:cNvSpPr/>
          <p:nvPr/>
        </p:nvSpPr>
        <p:spPr>
          <a:xfrm>
            <a:off x="1571190" y="3275265"/>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5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X</a:t>
            </a:r>
          </a:p>
        </p:txBody>
      </p:sp>
      <p:sp>
        <p:nvSpPr>
          <p:cNvPr id="4" name="Ellipse 3">
            <a:extLst>
              <a:ext uri="{FF2B5EF4-FFF2-40B4-BE49-F238E27FC236}">
                <a16:creationId xmlns:a16="http://schemas.microsoft.com/office/drawing/2014/main" id="{9E704604-D358-31FC-D7B1-11829BE12602}"/>
              </a:ext>
            </a:extLst>
          </p:cNvPr>
          <p:cNvSpPr/>
          <p:nvPr/>
        </p:nvSpPr>
        <p:spPr>
          <a:xfrm>
            <a:off x="1571178" y="3659486"/>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5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X</a:t>
            </a:r>
          </a:p>
        </p:txBody>
      </p:sp>
      <p:sp>
        <p:nvSpPr>
          <p:cNvPr id="6" name="Ellipse 5">
            <a:extLst>
              <a:ext uri="{FF2B5EF4-FFF2-40B4-BE49-F238E27FC236}">
                <a16:creationId xmlns:a16="http://schemas.microsoft.com/office/drawing/2014/main" id="{29245534-DF3D-6A46-B517-E9283C464A1B}"/>
              </a:ext>
            </a:extLst>
          </p:cNvPr>
          <p:cNvSpPr/>
          <p:nvPr/>
        </p:nvSpPr>
        <p:spPr>
          <a:xfrm>
            <a:off x="1555866" y="4049491"/>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5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X</a:t>
            </a:r>
          </a:p>
        </p:txBody>
      </p:sp>
      <p:sp>
        <p:nvSpPr>
          <p:cNvPr id="7" name="Ellipse 6">
            <a:extLst>
              <a:ext uri="{FF2B5EF4-FFF2-40B4-BE49-F238E27FC236}">
                <a16:creationId xmlns:a16="http://schemas.microsoft.com/office/drawing/2014/main" id="{FB243642-35CD-9205-F05B-8421D9A53369}"/>
              </a:ext>
            </a:extLst>
          </p:cNvPr>
          <p:cNvSpPr/>
          <p:nvPr/>
        </p:nvSpPr>
        <p:spPr>
          <a:xfrm>
            <a:off x="1562370" y="4439496"/>
            <a:ext cx="288000"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0" lang="de-CH" sz="1500" b="0" i="0" u="none" strike="noStrike" kern="1200" cap="none" spc="0" normalizeH="0" baseline="0" noProof="0" dirty="0">
                <a:ln>
                  <a:noFill/>
                </a:ln>
                <a:solidFill>
                  <a:srgbClr val="FFFFFF">
                    <a:lumMod val="50000"/>
                  </a:srgbClr>
                </a:solidFill>
                <a:effectLst/>
                <a:uLnTx/>
                <a:uFillTx/>
                <a:latin typeface="HelveticaNeueLT Com 55 Roman"/>
                <a:ea typeface="+mn-ea"/>
                <a:cs typeface="+mn-cs"/>
              </a:rPr>
              <a:t>X</a:t>
            </a:r>
          </a:p>
        </p:txBody>
      </p:sp>
      <p:grpSp>
        <p:nvGrpSpPr>
          <p:cNvPr id="11" name="Gruppieren 10">
            <a:extLst>
              <a:ext uri="{FF2B5EF4-FFF2-40B4-BE49-F238E27FC236}">
                <a16:creationId xmlns:a16="http://schemas.microsoft.com/office/drawing/2014/main" id="{D210D00F-F782-3DC9-B787-C9A003277217}"/>
              </a:ext>
            </a:extLst>
          </p:cNvPr>
          <p:cNvGrpSpPr/>
          <p:nvPr/>
        </p:nvGrpSpPr>
        <p:grpSpPr>
          <a:xfrm>
            <a:off x="6294066" y="3023355"/>
            <a:ext cx="357921" cy="320073"/>
            <a:chOff x="767408" y="4526118"/>
            <a:chExt cx="347186" cy="320073"/>
          </a:xfrm>
        </p:grpSpPr>
        <p:sp>
          <p:nvSpPr>
            <p:cNvPr id="12" name="Ellipse 11">
              <a:extLst>
                <a:ext uri="{FF2B5EF4-FFF2-40B4-BE49-F238E27FC236}">
                  <a16:creationId xmlns:a16="http://schemas.microsoft.com/office/drawing/2014/main" id="{E5C193D4-4AF2-287E-A160-E0C4DE89176E}"/>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13" name="Titel 3">
              <a:extLst>
                <a:ext uri="{FF2B5EF4-FFF2-40B4-BE49-F238E27FC236}">
                  <a16:creationId xmlns:a16="http://schemas.microsoft.com/office/drawing/2014/main" id="{D2F855C5-030E-D55F-19FA-691EFB37D51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14" name="Gruppieren 13">
            <a:extLst>
              <a:ext uri="{FF2B5EF4-FFF2-40B4-BE49-F238E27FC236}">
                <a16:creationId xmlns:a16="http://schemas.microsoft.com/office/drawing/2014/main" id="{B3B6DCE5-B862-94C1-F5A1-B7E446C7A0B4}"/>
              </a:ext>
            </a:extLst>
          </p:cNvPr>
          <p:cNvGrpSpPr/>
          <p:nvPr/>
        </p:nvGrpSpPr>
        <p:grpSpPr>
          <a:xfrm>
            <a:off x="6309037" y="2646089"/>
            <a:ext cx="357921" cy="320073"/>
            <a:chOff x="767408" y="4526118"/>
            <a:chExt cx="347186" cy="320073"/>
          </a:xfrm>
        </p:grpSpPr>
        <p:sp>
          <p:nvSpPr>
            <p:cNvPr id="17" name="Ellipse 16">
              <a:extLst>
                <a:ext uri="{FF2B5EF4-FFF2-40B4-BE49-F238E27FC236}">
                  <a16:creationId xmlns:a16="http://schemas.microsoft.com/office/drawing/2014/main" id="{0BBDE5F1-9D06-21BA-F4C0-7F0C7005EF5C}"/>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19" name="Titel 3">
              <a:extLst>
                <a:ext uri="{FF2B5EF4-FFF2-40B4-BE49-F238E27FC236}">
                  <a16:creationId xmlns:a16="http://schemas.microsoft.com/office/drawing/2014/main" id="{1FF52F03-519C-CE18-0F9C-F6741A55C9F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20" name="Gruppieren 19">
            <a:extLst>
              <a:ext uri="{FF2B5EF4-FFF2-40B4-BE49-F238E27FC236}">
                <a16:creationId xmlns:a16="http://schemas.microsoft.com/office/drawing/2014/main" id="{B0096282-C91C-6CBE-BE56-F791AAC03E51}"/>
              </a:ext>
            </a:extLst>
          </p:cNvPr>
          <p:cNvGrpSpPr/>
          <p:nvPr/>
        </p:nvGrpSpPr>
        <p:grpSpPr>
          <a:xfrm>
            <a:off x="6315718" y="3420683"/>
            <a:ext cx="357921" cy="320073"/>
            <a:chOff x="767408" y="4526118"/>
            <a:chExt cx="347186" cy="320073"/>
          </a:xfrm>
        </p:grpSpPr>
        <p:sp>
          <p:nvSpPr>
            <p:cNvPr id="23" name="Ellipse 22">
              <a:extLst>
                <a:ext uri="{FF2B5EF4-FFF2-40B4-BE49-F238E27FC236}">
                  <a16:creationId xmlns:a16="http://schemas.microsoft.com/office/drawing/2014/main" id="{A1DD068A-4FAF-34EE-6227-6E5C7DC878DB}"/>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25" name="Titel 3">
              <a:extLst>
                <a:ext uri="{FF2B5EF4-FFF2-40B4-BE49-F238E27FC236}">
                  <a16:creationId xmlns:a16="http://schemas.microsoft.com/office/drawing/2014/main" id="{EACA61E3-9A5C-F8A7-01B7-6707B6E912F0}"/>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26" name="Gruppieren 25">
            <a:extLst>
              <a:ext uri="{FF2B5EF4-FFF2-40B4-BE49-F238E27FC236}">
                <a16:creationId xmlns:a16="http://schemas.microsoft.com/office/drawing/2014/main" id="{0E91F3D3-DDE6-97D0-A6D9-B1DE631BFD05}"/>
              </a:ext>
            </a:extLst>
          </p:cNvPr>
          <p:cNvGrpSpPr/>
          <p:nvPr/>
        </p:nvGrpSpPr>
        <p:grpSpPr>
          <a:xfrm>
            <a:off x="6322344" y="3809928"/>
            <a:ext cx="357921" cy="320073"/>
            <a:chOff x="767408" y="4526118"/>
            <a:chExt cx="347186" cy="320073"/>
          </a:xfrm>
        </p:grpSpPr>
        <p:sp>
          <p:nvSpPr>
            <p:cNvPr id="27" name="Ellipse 26">
              <a:extLst>
                <a:ext uri="{FF2B5EF4-FFF2-40B4-BE49-F238E27FC236}">
                  <a16:creationId xmlns:a16="http://schemas.microsoft.com/office/drawing/2014/main" id="{054F0623-F43F-26A9-DBD9-897490539DFC}"/>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29" name="Titel 3">
              <a:extLst>
                <a:ext uri="{FF2B5EF4-FFF2-40B4-BE49-F238E27FC236}">
                  <a16:creationId xmlns:a16="http://schemas.microsoft.com/office/drawing/2014/main" id="{DCBC9B14-46A9-D42D-0EF0-A812B3639D15}"/>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31" name="Gruppieren 30">
            <a:extLst>
              <a:ext uri="{FF2B5EF4-FFF2-40B4-BE49-F238E27FC236}">
                <a16:creationId xmlns:a16="http://schemas.microsoft.com/office/drawing/2014/main" id="{74DDC2CF-3BE5-C286-E672-0AE30045032B}"/>
              </a:ext>
            </a:extLst>
          </p:cNvPr>
          <p:cNvGrpSpPr/>
          <p:nvPr/>
        </p:nvGrpSpPr>
        <p:grpSpPr>
          <a:xfrm>
            <a:off x="6322344" y="4181428"/>
            <a:ext cx="357921" cy="320073"/>
            <a:chOff x="767408" y="4526118"/>
            <a:chExt cx="347186" cy="320073"/>
          </a:xfrm>
        </p:grpSpPr>
        <p:sp>
          <p:nvSpPr>
            <p:cNvPr id="32" name="Ellipse 31">
              <a:extLst>
                <a:ext uri="{FF2B5EF4-FFF2-40B4-BE49-F238E27FC236}">
                  <a16:creationId xmlns:a16="http://schemas.microsoft.com/office/drawing/2014/main" id="{E2B9613E-D6AF-BC2F-89ED-37E98A5A315E}"/>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33" name="Titel 3">
              <a:extLst>
                <a:ext uri="{FF2B5EF4-FFF2-40B4-BE49-F238E27FC236}">
                  <a16:creationId xmlns:a16="http://schemas.microsoft.com/office/drawing/2014/main" id="{BA6B8DBF-8D3F-451F-1963-482EB37E9887}"/>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grpSp>
        <p:nvGrpSpPr>
          <p:cNvPr id="35" name="Gruppieren 34">
            <a:extLst>
              <a:ext uri="{FF2B5EF4-FFF2-40B4-BE49-F238E27FC236}">
                <a16:creationId xmlns:a16="http://schemas.microsoft.com/office/drawing/2014/main" id="{8241DF7E-2F25-F24C-26CF-395A3F2606F1}"/>
              </a:ext>
            </a:extLst>
          </p:cNvPr>
          <p:cNvGrpSpPr/>
          <p:nvPr/>
        </p:nvGrpSpPr>
        <p:grpSpPr>
          <a:xfrm>
            <a:off x="6322344" y="4567761"/>
            <a:ext cx="357921" cy="320073"/>
            <a:chOff x="767408" y="4526118"/>
            <a:chExt cx="347186" cy="320073"/>
          </a:xfrm>
        </p:grpSpPr>
        <p:sp>
          <p:nvSpPr>
            <p:cNvPr id="36" name="Ellipse 35">
              <a:extLst>
                <a:ext uri="{FF2B5EF4-FFF2-40B4-BE49-F238E27FC236}">
                  <a16:creationId xmlns:a16="http://schemas.microsoft.com/office/drawing/2014/main" id="{6BFDFD27-0ED8-491E-430B-ADD864C60857}"/>
                </a:ext>
              </a:extLst>
            </p:cNvPr>
            <p:cNvSpPr/>
            <p:nvPr/>
          </p:nvSpPr>
          <p:spPr>
            <a:xfrm>
              <a:off x="767408" y="4558159"/>
              <a:ext cx="279362" cy="288032"/>
            </a:xfrm>
            <a:prstGeom prst="ellipse">
              <a:avLst/>
            </a:prstGeom>
            <a:solidFill>
              <a:schemeClr val="bg1"/>
            </a:solidFill>
            <a:ln w="6350">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de-CH" sz="1600" b="0" i="0" u="none" strike="noStrike" kern="1200" cap="none" spc="0" normalizeH="0" baseline="0" noProof="0" dirty="0">
                <a:ln>
                  <a:noFill/>
                </a:ln>
                <a:solidFill>
                  <a:srgbClr val="28828B"/>
                </a:solidFill>
                <a:effectLst/>
                <a:uLnTx/>
                <a:uFillTx/>
                <a:latin typeface="72 Light" panose="020B0303030000000003" pitchFamily="34" charset="0"/>
                <a:ea typeface="+mn-ea"/>
                <a:cs typeface="+mn-cs"/>
              </a:endParaRPr>
            </a:p>
          </p:txBody>
        </p:sp>
        <p:sp>
          <p:nvSpPr>
            <p:cNvPr id="37" name="Titel 3">
              <a:extLst>
                <a:ext uri="{FF2B5EF4-FFF2-40B4-BE49-F238E27FC236}">
                  <a16:creationId xmlns:a16="http://schemas.microsoft.com/office/drawing/2014/main" id="{203B9CF8-7BDA-D0F6-ABD3-DE4004EEFE01}"/>
                </a:ext>
              </a:extLst>
            </p:cNvPr>
            <p:cNvSpPr txBox="1">
              <a:spLocks/>
            </p:cNvSpPr>
            <p:nvPr/>
          </p:nvSpPr>
          <p:spPr bwMode="auto">
            <a:xfrm>
              <a:off x="822269" y="4526118"/>
              <a:ext cx="292325" cy="28159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lvl1pPr algn="l" defTabSz="1035025" rtl="0" eaLnBrk="1" fontAlgn="base" hangingPunct="1">
                <a:lnSpc>
                  <a:spcPct val="100000"/>
                </a:lnSpc>
                <a:spcBef>
                  <a:spcPts val="0"/>
                </a:spcBef>
                <a:spcAft>
                  <a:spcPts val="0"/>
                </a:spcAft>
                <a:defRPr sz="2800" b="1" i="0" kern="1200" cap="none" baseline="0">
                  <a:solidFill>
                    <a:schemeClr val="tx2"/>
                  </a:solidFill>
                  <a:latin typeface="+mj-lt"/>
                  <a:ea typeface="MS PGothic" panose="020B0600070205080204" pitchFamily="34" charset="-128"/>
                  <a:cs typeface="Segoe UI" panose="020B0502040204020203" pitchFamily="34" charset="0"/>
                </a:defRPr>
              </a:lvl1pPr>
              <a:lvl2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2pPr>
              <a:lvl3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3pPr>
              <a:lvl4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4pPr>
              <a:lvl5pPr algn="l" defTabSz="1035025" rtl="0" eaLnBrk="1" fontAlgn="base" hangingPunct="1">
                <a:spcBef>
                  <a:spcPct val="0"/>
                </a:spcBef>
                <a:spcAft>
                  <a:spcPct val="0"/>
                </a:spcAft>
                <a:defRPr sz="3067">
                  <a:solidFill>
                    <a:schemeClr val="tx1"/>
                  </a:solidFill>
                  <a:latin typeface="Arial" pitchFamily="34" charset="0"/>
                  <a:ea typeface="MS PGothic" panose="020B0600070205080204" pitchFamily="34" charset="-128"/>
                  <a:cs typeface="MS PGothic" charset="0"/>
                </a:defRPr>
              </a:lvl5pPr>
              <a:lvl6pPr marL="477049" algn="l" defTabSz="1038577" rtl="0" eaLnBrk="1" fontAlgn="base" hangingPunct="1">
                <a:spcBef>
                  <a:spcPct val="0"/>
                </a:spcBef>
                <a:spcAft>
                  <a:spcPct val="0"/>
                </a:spcAft>
                <a:defRPr sz="3067">
                  <a:solidFill>
                    <a:schemeClr val="tx1"/>
                  </a:solidFill>
                  <a:latin typeface="Arial" pitchFamily="34" charset="0"/>
                </a:defRPr>
              </a:lvl6pPr>
              <a:lvl7pPr marL="954097" algn="l" defTabSz="1038577" rtl="0" eaLnBrk="1" fontAlgn="base" hangingPunct="1">
                <a:spcBef>
                  <a:spcPct val="0"/>
                </a:spcBef>
                <a:spcAft>
                  <a:spcPct val="0"/>
                </a:spcAft>
                <a:defRPr sz="3067">
                  <a:solidFill>
                    <a:schemeClr val="tx1"/>
                  </a:solidFill>
                  <a:latin typeface="Arial" pitchFamily="34" charset="0"/>
                </a:defRPr>
              </a:lvl7pPr>
              <a:lvl8pPr marL="1431147" algn="l" defTabSz="1038577" rtl="0" eaLnBrk="1" fontAlgn="base" hangingPunct="1">
                <a:spcBef>
                  <a:spcPct val="0"/>
                </a:spcBef>
                <a:spcAft>
                  <a:spcPct val="0"/>
                </a:spcAft>
                <a:defRPr sz="3067">
                  <a:solidFill>
                    <a:schemeClr val="tx1"/>
                  </a:solidFill>
                  <a:latin typeface="Arial" pitchFamily="34" charset="0"/>
                </a:defRPr>
              </a:lvl8pPr>
              <a:lvl9pPr marL="1908196" algn="l" defTabSz="1038577" rtl="0" eaLnBrk="1" fontAlgn="base" hangingPunct="1">
                <a:spcBef>
                  <a:spcPct val="0"/>
                </a:spcBef>
                <a:spcAft>
                  <a:spcPct val="0"/>
                </a:spcAft>
                <a:defRPr sz="3067">
                  <a:solidFill>
                    <a:schemeClr val="tx1"/>
                  </a:solidFill>
                  <a:latin typeface="Arial" pitchFamily="34" charset="0"/>
                </a:defRPr>
              </a:lvl9pPr>
            </a:lstStyle>
            <a:p>
              <a:pPr marL="0" marR="0" lvl="0" indent="0" algn="l" defTabSz="1035025" rtl="0" eaLnBrk="1" fontAlgn="base" latinLnBrk="0" hangingPunct="1">
                <a:lnSpc>
                  <a:spcPct val="150000"/>
                </a:lnSpc>
                <a:spcBef>
                  <a:spcPts val="0"/>
                </a:spcBef>
                <a:spcAft>
                  <a:spcPts val="0"/>
                </a:spcAft>
                <a:buClrTx/>
                <a:buSzTx/>
                <a:buFontTx/>
                <a:buNone/>
                <a:tabLst/>
                <a:defRPr/>
              </a:pPr>
              <a:r>
                <a:rPr kumimoji="0" lang="de-CH" sz="14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a:t>
              </a:r>
            </a:p>
          </p:txBody>
        </p:sp>
      </p:grpSp>
    </p:spTree>
    <p:extLst>
      <p:ext uri="{BB962C8B-B14F-4D97-AF65-F5344CB8AC3E}">
        <p14:creationId xmlns:p14="http://schemas.microsoft.com/office/powerpoint/2010/main" val="22620456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31688"/>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CH" dirty="0"/>
              <a:t>PAY – für schnelle internationale Zahlungen weltweit</a:t>
            </a:r>
            <a:br>
              <a:rPr lang="de-CH" dirty="0"/>
            </a:br>
            <a:r>
              <a:rPr lang="de-CH" sz="1900" b="0" noProof="1">
                <a:solidFill>
                  <a:srgbClr val="28828B"/>
                </a:solidFill>
                <a:latin typeface="Corona LT" panose="02000604020000090004" pitchFamily="2" charset="0"/>
              </a:rPr>
              <a:t>amnis Leistungen für Sie</a:t>
            </a:r>
            <a:endParaRPr lang="de-CH" sz="1900" dirty="0"/>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PAY</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rPr>
              <a:t>Einfache, schnelle und günstige inter-nationale Zahlungen</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okale» </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Überweisungen</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Über unser Netzwerk ermöglichen wir Ihnen </a:t>
            </a: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n mehr als 25 Ländern Lokalzahlungen</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zu tiefsten Kosten.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Gutschrift bei Zahlungsempfänger:</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sym typeface="Wingdings" panose="05000000000000000000" pitchFamily="2" charset="2"/>
              </a:rPr>
              <a:t> </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voller Betrag in der jeweiligen Landeswährung</a:t>
            </a: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chnelle»,  </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grenzüber-schreitende Zahlungen</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err="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mnis</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PAY ist der einfache und </a:t>
            </a:r>
            <a:b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schnelle Weg, </a:t>
            </a: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nternationale</a:t>
            </a:r>
            <a:b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Zahlungen </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uszuführen – und das</a:t>
            </a:r>
            <a:b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n mehr als 120 Ländern.</a:t>
            </a:r>
          </a:p>
        </p:txBody>
      </p:sp>
      <p:sp>
        <p:nvSpPr>
          <p:cNvPr id="36" name="Inhaltsplatzhalter 5">
            <a:extLst>
              <a:ext uri="{FF2B5EF4-FFF2-40B4-BE49-F238E27FC236}">
                <a16:creationId xmlns:a16="http://schemas.microsoft.com/office/drawing/2014/main" id="{7F04A3B1-D791-4E46-8CBC-BF1F9A020B1F}"/>
              </a:ext>
            </a:extLst>
          </p:cNvPr>
          <p:cNvSpPr txBox="1">
            <a:spLocks/>
          </p:cNvSpPr>
          <p:nvPr/>
        </p:nvSpPr>
        <p:spPr>
          <a:xfrm>
            <a:off x="8955588" y="1839516"/>
            <a:ext cx="2808313"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ammelzahlungen»</a:t>
            </a:r>
            <a:endPar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Mit der «Datei-Upload» Funktion internationale </a:t>
            </a: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Zahlungen effizienter erfassen</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und ausführen.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Mit nur einem Klick Geld an mehrere Empfänger gleichzeitig überweisen</a:t>
            </a:r>
          </a:p>
        </p:txBody>
      </p:sp>
      <p:pic>
        <p:nvPicPr>
          <p:cNvPr id="14" name="Grafik 13">
            <a:extLst>
              <a:ext uri="{FF2B5EF4-FFF2-40B4-BE49-F238E27FC236}">
                <a16:creationId xmlns:a16="http://schemas.microsoft.com/office/drawing/2014/main" id="{DB4B88AE-7C2D-4989-8A39-828C3446B0C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373479864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31688"/>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CH" dirty="0"/>
              <a:t>COLLECT – Globales Firmenkonto für Zahlungseingänge</a:t>
            </a:r>
            <a:br>
              <a:rPr lang="de-CH" dirty="0"/>
            </a:br>
            <a:r>
              <a:rPr lang="de-CH" sz="1900" b="0" noProof="1">
                <a:solidFill>
                  <a:srgbClr val="28828B"/>
                </a:solidFill>
                <a:latin typeface="Corona LT" panose="02000604020000090004" pitchFamily="2" charset="0"/>
              </a:rPr>
              <a:t>amnis Leistungen für Sie</a:t>
            </a:r>
            <a:endParaRPr lang="de-CH" sz="1900" dirty="0"/>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COLLECT</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rPr>
              <a:t>Globales Firmen-konto für Zahlungs-eingänge</a:t>
            </a:r>
            <a:endParaRPr kumimoji="0" lang="de-CH" sz="1400" b="0" i="0" u="none" strike="noStrike" kern="1200" cap="none" spc="0" normalizeH="0" baseline="0" noProof="0">
              <a:ln>
                <a:noFill/>
              </a:ln>
              <a:solidFill>
                <a:srgbClr val="FFFFFF"/>
              </a:solidFill>
              <a:effectLst/>
              <a:uLnTx/>
              <a:uFillTx/>
              <a:latin typeface="Corona LT"/>
              <a:ea typeface="+mn-ea"/>
              <a:cs typeface="+mn-cs"/>
            </a:endParaRP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3365574"/>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Lokale</a:t>
            </a: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IBAN-Konten </a:t>
            </a:r>
            <a:r>
              <a:rPr kumimoji="0" lang="de-CH" sz="16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für</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a:t>
            </a:r>
            <a:r>
              <a:rPr kumimoji="0" lang="de-CH" sz="16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CH</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a:t>
            </a:r>
            <a:r>
              <a:rPr kumimoji="0" lang="de-CH" sz="16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EUR</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amp; </a:t>
            </a:r>
            <a:r>
              <a:rPr kumimoji="0" lang="de-CH" sz="16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GB</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lautend auf Ihren Namen</a:t>
            </a:r>
            <a:endParaRPr kumimoji="0" lang="de-CH" sz="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7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Über unser Netzwerk ermöglichen wir Ihnen </a:t>
            </a: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in mehr als 25 Ländern Lokalzahlungen</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zu tiefsten Kosten.</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Zum Beispiel EUR-Konto mit einer </a:t>
            </a: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deutschen IBAN</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die für lokale Zahlungseingänge ausgestattet is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200" dirty="0">
                <a:solidFill>
                  <a:srgbClr val="868689"/>
                </a:solidFill>
                <a:latin typeface="HelveticaNeueLT Com 55 Roman"/>
              </a:rPr>
              <a:t>Mit der </a:t>
            </a:r>
            <a:r>
              <a:rPr lang="de-CH" sz="1200" b="1" dirty="0">
                <a:solidFill>
                  <a:schemeClr val="accent2"/>
                </a:solidFill>
                <a:latin typeface="HelveticaNeueLT Com 55 Roman"/>
              </a:rPr>
              <a:t>Schweizer IBAN </a:t>
            </a:r>
            <a:r>
              <a:rPr lang="de-CH" sz="1200" dirty="0">
                <a:solidFill>
                  <a:srgbClr val="868689"/>
                </a:solidFill>
                <a:latin typeface="HelveticaNeueLT Com 55 Roman"/>
              </a:rPr>
              <a:t>lassen sich das </a:t>
            </a:r>
            <a:r>
              <a:rPr lang="de-CH" sz="1200" dirty="0" err="1">
                <a:solidFill>
                  <a:srgbClr val="868689"/>
                </a:solidFill>
                <a:latin typeface="HelveticaNeueLT Com 55 Roman"/>
              </a:rPr>
              <a:t>amnis</a:t>
            </a:r>
            <a:r>
              <a:rPr lang="de-CH" sz="1200" dirty="0">
                <a:solidFill>
                  <a:srgbClr val="868689"/>
                </a:solidFill>
                <a:latin typeface="HelveticaNeueLT Com 55 Roman"/>
              </a:rPr>
              <a:t> Konto mühelos mit CHF befüllen und lässt sich mit Online-Plattformen verknüpfen. </a:t>
            </a: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okale»</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 Kontonummern in USD &amp; CAD</a:t>
            </a: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3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uslandszahlungen in USD und CAD tätigen </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und empfangen - so als wären Sie selbst vor Ort.</a:t>
            </a:r>
          </a:p>
        </p:txBody>
      </p:sp>
      <p:sp>
        <p:nvSpPr>
          <p:cNvPr id="36" name="Inhaltsplatzhalter 5">
            <a:extLst>
              <a:ext uri="{FF2B5EF4-FFF2-40B4-BE49-F238E27FC236}">
                <a16:creationId xmlns:a16="http://schemas.microsoft.com/office/drawing/2014/main" id="{7F04A3B1-D791-4E46-8CBC-BF1F9A020B1F}"/>
              </a:ext>
            </a:extLst>
          </p:cNvPr>
          <p:cNvSpPr txBox="1">
            <a:spLocks/>
          </p:cNvSpPr>
          <p:nvPr/>
        </p:nvSpPr>
        <p:spPr>
          <a:xfrm>
            <a:off x="8955588" y="1839516"/>
            <a:ext cx="2808313"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Multi-Währungskonto» </a:t>
            </a: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in 20+ Währungen</a:t>
            </a: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5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Das Multi-Währungskonto lautet auf den Namen Ihrer Firma</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und ist eine clevere Lösung für internationale Zahlungseingänge. Dieselbe IBAN kann bis zu 34 Währungen virtuell verlinkt haben. </a:t>
            </a:r>
            <a:b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b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Dadurch können Sie </a:t>
            </a: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verschiedene Währungen an einem Ort empfangen </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und so Ihr Konto-Management vereinfachen.</a:t>
            </a:r>
          </a:p>
        </p:txBody>
      </p:sp>
      <p:pic>
        <p:nvPicPr>
          <p:cNvPr id="14" name="Grafik 13">
            <a:extLst>
              <a:ext uri="{FF2B5EF4-FFF2-40B4-BE49-F238E27FC236}">
                <a16:creationId xmlns:a16="http://schemas.microsoft.com/office/drawing/2014/main" id="{DB4B88AE-7C2D-4989-8A39-828C3446B0C3}"/>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82046571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5" name="Rechteck 874">
            <a:extLst>
              <a:ext uri="{FF2B5EF4-FFF2-40B4-BE49-F238E27FC236}">
                <a16:creationId xmlns:a16="http://schemas.microsoft.com/office/drawing/2014/main" id="{A978A669-A025-416B-B78D-C9BB89251FB5}"/>
              </a:ext>
            </a:extLst>
          </p:cNvPr>
          <p:cNvSpPr/>
          <p:nvPr/>
        </p:nvSpPr>
        <p:spPr>
          <a:xfrm>
            <a:off x="2506269" y="1831687"/>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4" name="Inhaltsplatzhalter 5">
            <a:extLst>
              <a:ext uri="{FF2B5EF4-FFF2-40B4-BE49-F238E27FC236}">
                <a16:creationId xmlns:a16="http://schemas.microsoft.com/office/drawing/2014/main" id="{F1C1E59D-9357-4E54-AE63-0DA7DA614C29}"/>
              </a:ext>
            </a:extLst>
          </p:cNvPr>
          <p:cNvSpPr txBox="1">
            <a:spLocks/>
          </p:cNvSpPr>
          <p:nvPr/>
        </p:nvSpPr>
        <p:spPr>
          <a:xfrm>
            <a:off x="2567608" y="1807769"/>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Kassageschäft </a:t>
            </a:r>
            <a:b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Spo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Währungspaar auswähl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Betrag festleg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Wechselkurs fixieren</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usführung am gleichen Tag</a:t>
            </a:r>
          </a:p>
        </p:txBody>
      </p:sp>
      <p:sp>
        <p:nvSpPr>
          <p:cNvPr id="879" name="Rechteck 878">
            <a:extLst>
              <a:ext uri="{FF2B5EF4-FFF2-40B4-BE49-F238E27FC236}">
                <a16:creationId xmlns:a16="http://schemas.microsoft.com/office/drawing/2014/main" id="{0AADED79-0213-4E13-B80E-539D09127779}"/>
              </a:ext>
            </a:extLst>
          </p:cNvPr>
          <p:cNvSpPr/>
          <p:nvPr/>
        </p:nvSpPr>
        <p:spPr>
          <a:xfrm>
            <a:off x="5620945" y="1831686"/>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5" name="Inhaltsplatzhalter 8">
            <a:extLst>
              <a:ext uri="{FF2B5EF4-FFF2-40B4-BE49-F238E27FC236}">
                <a16:creationId xmlns:a16="http://schemas.microsoft.com/office/drawing/2014/main" id="{DF20CE51-5BA2-4BAE-9F90-28356375F44B}"/>
              </a:ext>
            </a:extLst>
          </p:cNvPr>
          <p:cNvSpPr txBox="1">
            <a:spLocks/>
          </p:cNvSpPr>
          <p:nvPr/>
        </p:nvSpPr>
        <p:spPr bwMode="auto">
          <a:xfrm>
            <a:off x="5625466" y="1807769"/>
            <a:ext cx="2957052" cy="2053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6800" rIns="90000" bIns="46800" numCol="1"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Termingeschäft</a:t>
            </a:r>
            <a:br>
              <a:rPr kumimoji="0" lang="de-CH" sz="16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orward»</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2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Betrag festleg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älligkeit definier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Wechselkurs fixier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remdwährung flexibel bezieh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usführung bei Termin</a:t>
            </a:r>
          </a:p>
        </p:txBody>
      </p:sp>
      <p:sp>
        <p:nvSpPr>
          <p:cNvPr id="881" name="Rechteck 880">
            <a:extLst>
              <a:ext uri="{FF2B5EF4-FFF2-40B4-BE49-F238E27FC236}">
                <a16:creationId xmlns:a16="http://schemas.microsoft.com/office/drawing/2014/main" id="{11C5D7DE-4CB0-4DF2-9172-BA7A420AA1A4}"/>
              </a:ext>
            </a:extLst>
          </p:cNvPr>
          <p:cNvSpPr/>
          <p:nvPr/>
        </p:nvSpPr>
        <p:spPr>
          <a:xfrm>
            <a:off x="8693705" y="1801286"/>
            <a:ext cx="3038149"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56" name="Inhaltsplatzhalter 7">
            <a:extLst>
              <a:ext uri="{FF2B5EF4-FFF2-40B4-BE49-F238E27FC236}">
                <a16:creationId xmlns:a16="http://schemas.microsoft.com/office/drawing/2014/main" id="{04734ABD-8EB6-43FD-98E3-7C9D072E5C8E}"/>
              </a:ext>
            </a:extLst>
          </p:cNvPr>
          <p:cNvSpPr txBox="1">
            <a:spLocks/>
          </p:cNvSpPr>
          <p:nvPr/>
        </p:nvSpPr>
        <p:spPr bwMode="auto">
          <a:xfrm>
            <a:off x="8676315" y="1788182"/>
            <a:ext cx="3119437" cy="20532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0000" tIns="46800" rIns="90000" bIns="46800" numCol="1" anchor="t" anchorCtr="0" compatLnSpc="1">
            <a:prstTxWarp prst="textNoShape">
              <a:avLst/>
            </a:prstTxWarp>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Teilbezüge</a:t>
            </a:r>
            <a:b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lexibel»</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4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Forward für Teilbezug auswähl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Fälligkeit definier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Betrag festleg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Ausführung bei Teilbezugstermin</a:t>
            </a:r>
          </a:p>
        </p:txBody>
      </p:sp>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877" name="Rechteck 876">
            <a:extLst>
              <a:ext uri="{FF2B5EF4-FFF2-40B4-BE49-F238E27FC236}">
                <a16:creationId xmlns:a16="http://schemas.microsoft.com/office/drawing/2014/main" id="{1B768F68-CC6E-44B2-AB0D-45A419A9469B}"/>
              </a:ext>
            </a:extLst>
          </p:cNvPr>
          <p:cNvSpPr/>
          <p:nvPr/>
        </p:nvSpPr>
        <p:spPr>
          <a:xfrm>
            <a:off x="2516542" y="4053029"/>
            <a:ext cx="2946779"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878" name="Rechteck 877">
            <a:extLst>
              <a:ext uri="{FF2B5EF4-FFF2-40B4-BE49-F238E27FC236}">
                <a16:creationId xmlns:a16="http://schemas.microsoft.com/office/drawing/2014/main" id="{A49D2DCB-817C-4293-A197-F65E62CF8D70}"/>
              </a:ext>
            </a:extLst>
          </p:cNvPr>
          <p:cNvSpPr/>
          <p:nvPr/>
        </p:nvSpPr>
        <p:spPr>
          <a:xfrm>
            <a:off x="5636081" y="4035990"/>
            <a:ext cx="2957052" cy="2053279"/>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CH" dirty="0"/>
              <a:t>EXCHANGE – Viele Möglichkeiten im Devisenhandel</a:t>
            </a:r>
            <a:br>
              <a:rPr lang="de-CH" dirty="0"/>
            </a:br>
            <a:r>
              <a:rPr lang="de-CH" sz="1900" b="0" noProof="1">
                <a:solidFill>
                  <a:srgbClr val="28828B"/>
                </a:solidFill>
                <a:latin typeface="Corona LT" panose="02000604020000090004" pitchFamily="2" charset="0"/>
              </a:rPr>
              <a:t>amnis Leistungen für Sie</a:t>
            </a:r>
            <a:endParaRPr lang="de-CH" sz="1900" dirty="0"/>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268258"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a:ln>
                  <a:noFill/>
                </a:ln>
                <a:solidFill>
                  <a:srgbClr val="28828B"/>
                </a:solidFill>
                <a:effectLst/>
                <a:uLnTx/>
                <a:uFillTx/>
                <a:latin typeface="HelveticaNeueLT Com 55 Roman"/>
                <a:ea typeface="+mn-ea"/>
                <a:cs typeface="+mn-cs"/>
              </a:rPr>
              <a:t>EXCHANGE</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DE" altLang="de-DE" sz="1800" b="1" i="0" u="none" strike="noStrike" kern="1200" cap="none" spc="0" normalizeH="0" baseline="0" noProof="0">
                <a:ln>
                  <a:noFill/>
                </a:ln>
                <a:solidFill>
                  <a:srgbClr val="FFFFFF"/>
                </a:solidFill>
                <a:effectLst/>
                <a:uLnTx/>
                <a:uFillTx/>
                <a:latin typeface="HelveticaNeueLT Pro 55 Roman" pitchFamily="34" charset="0"/>
                <a:ea typeface="+mn-ea"/>
                <a:cs typeface="+mn-cs"/>
                <a:sym typeface="Lato" charset="0"/>
              </a:rPr>
              <a:t>Währungen zu Top-Konditionen kaufen und verkaufen</a:t>
            </a:r>
            <a:endParaRPr kumimoji="0" lang="de-CH" sz="1400" b="0" i="0" u="none" strike="noStrike" kern="1200" cap="none" spc="0" normalizeH="0" baseline="0" noProof="0">
              <a:ln>
                <a:noFill/>
              </a:ln>
              <a:solidFill>
                <a:srgbClr val="FFFFFF"/>
              </a:solidFill>
              <a:effectLst/>
              <a:uLnTx/>
              <a:uFillTx/>
              <a:latin typeface="Corona LT"/>
              <a:ea typeface="+mn-ea"/>
              <a:cs typeface="+mn-cs"/>
            </a:endParaRPr>
          </a:p>
        </p:txBody>
      </p:sp>
      <p:grpSp>
        <p:nvGrpSpPr>
          <p:cNvPr id="841" name="Grupo 50">
            <a:extLst>
              <a:ext uri="{FF2B5EF4-FFF2-40B4-BE49-F238E27FC236}">
                <a16:creationId xmlns:a16="http://schemas.microsoft.com/office/drawing/2014/main" id="{CB8B69CE-EF76-4B23-A335-C8EA04A8D9E3}"/>
              </a:ext>
            </a:extLst>
          </p:cNvPr>
          <p:cNvGrpSpPr>
            <a:grpSpLocks noChangeAspect="1"/>
          </p:cNvGrpSpPr>
          <p:nvPr/>
        </p:nvGrpSpPr>
        <p:grpSpPr>
          <a:xfrm>
            <a:off x="4519944" y="1928191"/>
            <a:ext cx="590835" cy="578875"/>
            <a:chOff x="3024201" y="12418953"/>
            <a:chExt cx="313768" cy="307417"/>
          </a:xfrm>
          <a:solidFill>
            <a:srgbClr val="28828B"/>
          </a:solidFill>
        </p:grpSpPr>
        <p:sp>
          <p:nvSpPr>
            <p:cNvPr id="842" name="Forma libre 490">
              <a:extLst>
                <a:ext uri="{FF2B5EF4-FFF2-40B4-BE49-F238E27FC236}">
                  <a16:creationId xmlns:a16="http://schemas.microsoft.com/office/drawing/2014/main" id="{4CA65B9A-89BA-40A6-B936-0DD3C837A2F7}"/>
                </a:ext>
              </a:extLst>
            </p:cNvPr>
            <p:cNvSpPr/>
            <p:nvPr/>
          </p:nvSpPr>
          <p:spPr>
            <a:xfrm>
              <a:off x="3024201" y="12604673"/>
              <a:ext cx="216939" cy="121697"/>
            </a:xfrm>
            <a:custGeom>
              <a:avLst/>
              <a:gdLst>
                <a:gd name="connsiteX0" fmla="*/ 213235 w 216938"/>
                <a:gd name="connsiteY0" fmla="*/ 0 h 121697"/>
                <a:gd name="connsiteX1" fmla="*/ 6349 w 216938"/>
                <a:gd name="connsiteY1" fmla="*/ 0 h 121697"/>
                <a:gd name="connsiteX2" fmla="*/ 0 w 216938"/>
                <a:gd name="connsiteY2" fmla="*/ 6349 h 121697"/>
                <a:gd name="connsiteX3" fmla="*/ 0 w 216938"/>
                <a:gd name="connsiteY3" fmla="*/ 119581 h 121697"/>
                <a:gd name="connsiteX4" fmla="*/ 2117 w 216938"/>
                <a:gd name="connsiteY4" fmla="*/ 124343 h 121697"/>
                <a:gd name="connsiteX5" fmla="*/ 6878 w 216938"/>
                <a:gd name="connsiteY5" fmla="*/ 126460 h 121697"/>
                <a:gd name="connsiteX6" fmla="*/ 6878 w 216938"/>
                <a:gd name="connsiteY6" fmla="*/ 126460 h 121697"/>
                <a:gd name="connsiteX7" fmla="*/ 213764 w 216938"/>
                <a:gd name="connsiteY7" fmla="*/ 126460 h 121697"/>
                <a:gd name="connsiteX8" fmla="*/ 220113 w 216938"/>
                <a:gd name="connsiteY8" fmla="*/ 120110 h 121697"/>
                <a:gd name="connsiteX9" fmla="*/ 220113 w 216938"/>
                <a:gd name="connsiteY9" fmla="*/ 7408 h 121697"/>
                <a:gd name="connsiteX10" fmla="*/ 213235 w 216938"/>
                <a:gd name="connsiteY10" fmla="*/ 0 h 121697"/>
                <a:gd name="connsiteX11" fmla="*/ 206356 w 216938"/>
                <a:gd name="connsiteY11" fmla="*/ 113232 h 121697"/>
                <a:gd name="connsiteX12" fmla="*/ 43388 w 216938"/>
                <a:gd name="connsiteY12" fmla="*/ 113232 h 121697"/>
                <a:gd name="connsiteX13" fmla="*/ 43388 w 216938"/>
                <a:gd name="connsiteY13" fmla="*/ 113232 h 121697"/>
                <a:gd name="connsiteX14" fmla="*/ 12170 w 216938"/>
                <a:gd name="connsiteY14" fmla="*/ 113232 h 121697"/>
                <a:gd name="connsiteX15" fmla="*/ 12170 w 216938"/>
                <a:gd name="connsiteY15" fmla="*/ 13228 h 121697"/>
                <a:gd name="connsiteX16" fmla="*/ 206356 w 216938"/>
                <a:gd name="connsiteY16" fmla="*/ 13228 h 121697"/>
                <a:gd name="connsiteX17" fmla="*/ 206356 w 216938"/>
                <a:gd name="connsiteY17" fmla="*/ 113232 h 12169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216938" h="121697">
                  <a:moveTo>
                    <a:pt x="213235" y="0"/>
                  </a:moveTo>
                  <a:lnTo>
                    <a:pt x="6349" y="0"/>
                  </a:lnTo>
                  <a:cubicBezTo>
                    <a:pt x="2646" y="0"/>
                    <a:pt x="0" y="2646"/>
                    <a:pt x="0" y="6349"/>
                  </a:cubicBezTo>
                  <a:lnTo>
                    <a:pt x="0" y="119581"/>
                  </a:lnTo>
                  <a:cubicBezTo>
                    <a:pt x="0" y="121169"/>
                    <a:pt x="529" y="122755"/>
                    <a:pt x="2117" y="124343"/>
                  </a:cubicBezTo>
                  <a:cubicBezTo>
                    <a:pt x="3175" y="125401"/>
                    <a:pt x="4762" y="126460"/>
                    <a:pt x="6878" y="126460"/>
                  </a:cubicBezTo>
                  <a:cubicBezTo>
                    <a:pt x="6878" y="126460"/>
                    <a:pt x="6878" y="126460"/>
                    <a:pt x="6878" y="126460"/>
                  </a:cubicBezTo>
                  <a:lnTo>
                    <a:pt x="213764" y="126460"/>
                  </a:lnTo>
                  <a:cubicBezTo>
                    <a:pt x="217468" y="126460"/>
                    <a:pt x="220113" y="123815"/>
                    <a:pt x="220113" y="120110"/>
                  </a:cubicBezTo>
                  <a:lnTo>
                    <a:pt x="220113" y="7408"/>
                  </a:lnTo>
                  <a:cubicBezTo>
                    <a:pt x="219584" y="3175"/>
                    <a:pt x="216410" y="0"/>
                    <a:pt x="213235" y="0"/>
                  </a:cubicBezTo>
                  <a:close/>
                  <a:moveTo>
                    <a:pt x="206356" y="113232"/>
                  </a:moveTo>
                  <a:lnTo>
                    <a:pt x="43388" y="113232"/>
                  </a:lnTo>
                  <a:cubicBezTo>
                    <a:pt x="43388" y="113232"/>
                    <a:pt x="43388" y="113232"/>
                    <a:pt x="43388" y="113232"/>
                  </a:cubicBezTo>
                  <a:lnTo>
                    <a:pt x="12170" y="113232"/>
                  </a:lnTo>
                  <a:lnTo>
                    <a:pt x="12170" y="13228"/>
                  </a:lnTo>
                  <a:lnTo>
                    <a:pt x="206356" y="13228"/>
                  </a:lnTo>
                  <a:lnTo>
                    <a:pt x="206356" y="113232"/>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3" name="Forma libre 491">
              <a:extLst>
                <a:ext uri="{FF2B5EF4-FFF2-40B4-BE49-F238E27FC236}">
                  <a16:creationId xmlns:a16="http://schemas.microsoft.com/office/drawing/2014/main" id="{E02AE538-0381-4743-AAB1-C09DAEF0B4E1}"/>
                </a:ext>
              </a:extLst>
            </p:cNvPr>
            <p:cNvSpPr/>
            <p:nvPr/>
          </p:nvSpPr>
          <p:spPr>
            <a:xfrm>
              <a:off x="3096690" y="12630601"/>
              <a:ext cx="74077" cy="74077"/>
            </a:xfrm>
            <a:custGeom>
              <a:avLst/>
              <a:gdLst>
                <a:gd name="connsiteX0" fmla="*/ 37038 w 74076"/>
                <a:gd name="connsiteY0" fmla="*/ 74077 h 74076"/>
                <a:gd name="connsiteX1" fmla="*/ 74077 w 74076"/>
                <a:gd name="connsiteY1" fmla="*/ 37038 h 74076"/>
                <a:gd name="connsiteX2" fmla="*/ 37038 w 74076"/>
                <a:gd name="connsiteY2" fmla="*/ 0 h 74076"/>
                <a:gd name="connsiteX3" fmla="*/ 0 w 74076"/>
                <a:gd name="connsiteY3" fmla="*/ 37038 h 74076"/>
                <a:gd name="connsiteX4" fmla="*/ 37038 w 74076"/>
                <a:gd name="connsiteY4" fmla="*/ 74077 h 74076"/>
                <a:gd name="connsiteX5" fmla="*/ 37038 w 74076"/>
                <a:gd name="connsiteY5" fmla="*/ 12698 h 74076"/>
                <a:gd name="connsiteX6" fmla="*/ 61378 w 74076"/>
                <a:gd name="connsiteY6" fmla="*/ 37038 h 74076"/>
                <a:gd name="connsiteX7" fmla="*/ 37038 w 74076"/>
                <a:gd name="connsiteY7" fmla="*/ 61377 h 74076"/>
                <a:gd name="connsiteX8" fmla="*/ 12699 w 74076"/>
                <a:gd name="connsiteY8" fmla="*/ 37038 h 74076"/>
                <a:gd name="connsiteX9" fmla="*/ 37038 w 74076"/>
                <a:gd name="connsiteY9" fmla="*/ 12698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4076" h="74076">
                  <a:moveTo>
                    <a:pt x="37038" y="74077"/>
                  </a:moveTo>
                  <a:cubicBezTo>
                    <a:pt x="57674" y="74077"/>
                    <a:pt x="74077" y="57144"/>
                    <a:pt x="74077" y="37038"/>
                  </a:cubicBezTo>
                  <a:cubicBezTo>
                    <a:pt x="74077" y="16402"/>
                    <a:pt x="57145" y="0"/>
                    <a:pt x="37038" y="0"/>
                  </a:cubicBezTo>
                  <a:cubicBezTo>
                    <a:pt x="16932" y="0"/>
                    <a:pt x="0" y="16932"/>
                    <a:pt x="0" y="37038"/>
                  </a:cubicBezTo>
                  <a:cubicBezTo>
                    <a:pt x="0" y="57673"/>
                    <a:pt x="16403" y="74077"/>
                    <a:pt x="37038" y="74077"/>
                  </a:cubicBezTo>
                  <a:close/>
                  <a:moveTo>
                    <a:pt x="37038" y="12698"/>
                  </a:moveTo>
                  <a:cubicBezTo>
                    <a:pt x="50266" y="12698"/>
                    <a:pt x="61378" y="23810"/>
                    <a:pt x="61378" y="37038"/>
                  </a:cubicBezTo>
                  <a:cubicBezTo>
                    <a:pt x="61378" y="50266"/>
                    <a:pt x="50266" y="61377"/>
                    <a:pt x="37038" y="61377"/>
                  </a:cubicBezTo>
                  <a:cubicBezTo>
                    <a:pt x="23810" y="61377"/>
                    <a:pt x="12699" y="50266"/>
                    <a:pt x="12699" y="37038"/>
                  </a:cubicBezTo>
                  <a:cubicBezTo>
                    <a:pt x="12699" y="23810"/>
                    <a:pt x="23810" y="12698"/>
                    <a:pt x="37038" y="12698"/>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4" name="Forma libre 492">
              <a:extLst>
                <a:ext uri="{FF2B5EF4-FFF2-40B4-BE49-F238E27FC236}">
                  <a16:creationId xmlns:a16="http://schemas.microsoft.com/office/drawing/2014/main" id="{D4DEBF78-A052-4B01-B666-9AD9BF44F991}"/>
                </a:ext>
              </a:extLst>
            </p:cNvPr>
            <p:cNvSpPr/>
            <p:nvPr/>
          </p:nvSpPr>
          <p:spPr>
            <a:xfrm>
              <a:off x="3171296" y="12630601"/>
              <a:ext cx="37038" cy="74077"/>
            </a:xfrm>
            <a:custGeom>
              <a:avLst/>
              <a:gdLst>
                <a:gd name="connsiteX0" fmla="*/ 17461 w 37038"/>
                <a:gd name="connsiteY0" fmla="*/ 61907 h 74076"/>
                <a:gd name="connsiteX1" fmla="*/ 6349 w 37038"/>
                <a:gd name="connsiteY1" fmla="*/ 61907 h 74076"/>
                <a:gd name="connsiteX2" fmla="*/ 0 w 37038"/>
                <a:gd name="connsiteY2" fmla="*/ 68256 h 74076"/>
                <a:gd name="connsiteX3" fmla="*/ 6349 w 37038"/>
                <a:gd name="connsiteY3" fmla="*/ 74605 h 74076"/>
                <a:gd name="connsiteX4" fmla="*/ 19577 w 37038"/>
                <a:gd name="connsiteY4" fmla="*/ 74605 h 74076"/>
                <a:gd name="connsiteX5" fmla="*/ 23281 w 37038"/>
                <a:gd name="connsiteY5" fmla="*/ 73547 h 74076"/>
                <a:gd name="connsiteX6" fmla="*/ 38097 w 37038"/>
                <a:gd name="connsiteY6" fmla="*/ 64023 h 74076"/>
                <a:gd name="connsiteX7" fmla="*/ 41271 w 37038"/>
                <a:gd name="connsiteY7" fmla="*/ 58731 h 74076"/>
                <a:gd name="connsiteX8" fmla="*/ 41271 w 37038"/>
                <a:gd name="connsiteY8" fmla="*/ 13756 h 74076"/>
                <a:gd name="connsiteX9" fmla="*/ 37568 w 37038"/>
                <a:gd name="connsiteY9" fmla="*/ 7937 h 74076"/>
                <a:gd name="connsiteX10" fmla="*/ 22752 w 37038"/>
                <a:gd name="connsiteY10" fmla="*/ 528 h 74076"/>
                <a:gd name="connsiteX11" fmla="*/ 20106 w 37038"/>
                <a:gd name="connsiteY11" fmla="*/ 0 h 74076"/>
                <a:gd name="connsiteX12" fmla="*/ 6878 w 37038"/>
                <a:gd name="connsiteY12" fmla="*/ 0 h 74076"/>
                <a:gd name="connsiteX13" fmla="*/ 529 w 37038"/>
                <a:gd name="connsiteY13" fmla="*/ 6349 h 74076"/>
                <a:gd name="connsiteX14" fmla="*/ 6878 w 37038"/>
                <a:gd name="connsiteY14" fmla="*/ 12698 h 74076"/>
                <a:gd name="connsiteX15" fmla="*/ 18519 w 37038"/>
                <a:gd name="connsiteY15" fmla="*/ 12698 h 74076"/>
                <a:gd name="connsiteX16" fmla="*/ 28573 w 37038"/>
                <a:gd name="connsiteY16" fmla="*/ 17990 h 74076"/>
                <a:gd name="connsiteX17" fmla="*/ 28573 w 37038"/>
                <a:gd name="connsiteY17" fmla="*/ 55557 h 74076"/>
                <a:gd name="connsiteX18" fmla="*/ 17461 w 37038"/>
                <a:gd name="connsiteY18" fmla="*/ 61907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038" h="74076">
                  <a:moveTo>
                    <a:pt x="17461" y="61907"/>
                  </a:moveTo>
                  <a:lnTo>
                    <a:pt x="6349" y="61907"/>
                  </a:lnTo>
                  <a:cubicBezTo>
                    <a:pt x="2646" y="61907"/>
                    <a:pt x="0" y="64552"/>
                    <a:pt x="0" y="68256"/>
                  </a:cubicBezTo>
                  <a:cubicBezTo>
                    <a:pt x="0" y="71959"/>
                    <a:pt x="2646" y="74605"/>
                    <a:pt x="6349" y="74605"/>
                  </a:cubicBezTo>
                  <a:lnTo>
                    <a:pt x="19577" y="74605"/>
                  </a:lnTo>
                  <a:cubicBezTo>
                    <a:pt x="20636" y="74605"/>
                    <a:pt x="22223" y="74077"/>
                    <a:pt x="23281" y="73547"/>
                  </a:cubicBezTo>
                  <a:lnTo>
                    <a:pt x="38097" y="64023"/>
                  </a:lnTo>
                  <a:cubicBezTo>
                    <a:pt x="40213" y="62965"/>
                    <a:pt x="41271" y="60849"/>
                    <a:pt x="41271" y="58731"/>
                  </a:cubicBezTo>
                  <a:lnTo>
                    <a:pt x="41271" y="13756"/>
                  </a:lnTo>
                  <a:cubicBezTo>
                    <a:pt x="41271" y="11111"/>
                    <a:pt x="39684" y="8995"/>
                    <a:pt x="37568" y="7937"/>
                  </a:cubicBezTo>
                  <a:lnTo>
                    <a:pt x="22752" y="528"/>
                  </a:lnTo>
                  <a:cubicBezTo>
                    <a:pt x="21694" y="0"/>
                    <a:pt x="20636" y="0"/>
                    <a:pt x="20106" y="0"/>
                  </a:cubicBezTo>
                  <a:lnTo>
                    <a:pt x="6878" y="0"/>
                  </a:lnTo>
                  <a:cubicBezTo>
                    <a:pt x="3175" y="0"/>
                    <a:pt x="529" y="2646"/>
                    <a:pt x="529" y="6349"/>
                  </a:cubicBezTo>
                  <a:cubicBezTo>
                    <a:pt x="529" y="10053"/>
                    <a:pt x="3175" y="12698"/>
                    <a:pt x="6878" y="12698"/>
                  </a:cubicBezTo>
                  <a:lnTo>
                    <a:pt x="18519" y="12698"/>
                  </a:lnTo>
                  <a:lnTo>
                    <a:pt x="28573" y="17990"/>
                  </a:lnTo>
                  <a:lnTo>
                    <a:pt x="28573" y="55557"/>
                  </a:lnTo>
                  <a:lnTo>
                    <a:pt x="17461" y="61907"/>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5" name="Forma libre 493">
              <a:extLst>
                <a:ext uri="{FF2B5EF4-FFF2-40B4-BE49-F238E27FC236}">
                  <a16:creationId xmlns:a16="http://schemas.microsoft.com/office/drawing/2014/main" id="{8B5CF971-377B-4389-BC7A-FA83945C1CE3}"/>
                </a:ext>
              </a:extLst>
            </p:cNvPr>
            <p:cNvSpPr/>
            <p:nvPr/>
          </p:nvSpPr>
          <p:spPr>
            <a:xfrm>
              <a:off x="3054361" y="12630601"/>
              <a:ext cx="37038" cy="74077"/>
            </a:xfrm>
            <a:custGeom>
              <a:avLst/>
              <a:gdLst>
                <a:gd name="connsiteX0" fmla="*/ 4233 w 37038"/>
                <a:gd name="connsiteY0" fmla="*/ 66668 h 74076"/>
                <a:gd name="connsiteX1" fmla="*/ 19048 w 37038"/>
                <a:gd name="connsiteY1" fmla="*/ 74077 h 74076"/>
                <a:gd name="connsiteX2" fmla="*/ 21694 w 37038"/>
                <a:gd name="connsiteY2" fmla="*/ 74605 h 74076"/>
                <a:gd name="connsiteX3" fmla="*/ 34922 w 37038"/>
                <a:gd name="connsiteY3" fmla="*/ 74605 h 74076"/>
                <a:gd name="connsiteX4" fmla="*/ 41271 w 37038"/>
                <a:gd name="connsiteY4" fmla="*/ 68256 h 74076"/>
                <a:gd name="connsiteX5" fmla="*/ 34922 w 37038"/>
                <a:gd name="connsiteY5" fmla="*/ 61907 h 74076"/>
                <a:gd name="connsiteX6" fmla="*/ 23281 w 37038"/>
                <a:gd name="connsiteY6" fmla="*/ 61907 h 74076"/>
                <a:gd name="connsiteX7" fmla="*/ 13228 w 37038"/>
                <a:gd name="connsiteY7" fmla="*/ 56615 h 74076"/>
                <a:gd name="connsiteX8" fmla="*/ 13228 w 37038"/>
                <a:gd name="connsiteY8" fmla="*/ 19048 h 74076"/>
                <a:gd name="connsiteX9" fmla="*/ 23810 w 37038"/>
                <a:gd name="connsiteY9" fmla="*/ 12698 h 74076"/>
                <a:gd name="connsiteX10" fmla="*/ 34922 w 37038"/>
                <a:gd name="connsiteY10" fmla="*/ 12698 h 74076"/>
                <a:gd name="connsiteX11" fmla="*/ 41271 w 37038"/>
                <a:gd name="connsiteY11" fmla="*/ 6349 h 74076"/>
                <a:gd name="connsiteX12" fmla="*/ 34922 w 37038"/>
                <a:gd name="connsiteY12" fmla="*/ 0 h 74076"/>
                <a:gd name="connsiteX13" fmla="*/ 21694 w 37038"/>
                <a:gd name="connsiteY13" fmla="*/ 0 h 74076"/>
                <a:gd name="connsiteX14" fmla="*/ 17990 w 37038"/>
                <a:gd name="connsiteY14" fmla="*/ 1058 h 74076"/>
                <a:gd name="connsiteX15" fmla="*/ 3175 w 37038"/>
                <a:gd name="connsiteY15" fmla="*/ 10582 h 74076"/>
                <a:gd name="connsiteX16" fmla="*/ 0 w 37038"/>
                <a:gd name="connsiteY16" fmla="*/ 15874 h 74076"/>
                <a:gd name="connsiteX17" fmla="*/ 0 w 37038"/>
                <a:gd name="connsiteY17" fmla="*/ 60849 h 74076"/>
                <a:gd name="connsiteX18" fmla="*/ 4233 w 37038"/>
                <a:gd name="connsiteY18" fmla="*/ 66668 h 740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37038" h="74076">
                  <a:moveTo>
                    <a:pt x="4233" y="66668"/>
                  </a:moveTo>
                  <a:lnTo>
                    <a:pt x="19048" y="74077"/>
                  </a:lnTo>
                  <a:cubicBezTo>
                    <a:pt x="20106" y="74605"/>
                    <a:pt x="21165" y="74605"/>
                    <a:pt x="21694" y="74605"/>
                  </a:cubicBezTo>
                  <a:lnTo>
                    <a:pt x="34922" y="74605"/>
                  </a:lnTo>
                  <a:cubicBezTo>
                    <a:pt x="38626" y="74605"/>
                    <a:pt x="41271" y="71959"/>
                    <a:pt x="41271" y="68256"/>
                  </a:cubicBezTo>
                  <a:cubicBezTo>
                    <a:pt x="41271" y="64552"/>
                    <a:pt x="38626" y="61907"/>
                    <a:pt x="34922" y="61907"/>
                  </a:cubicBezTo>
                  <a:lnTo>
                    <a:pt x="23281" y="61907"/>
                  </a:lnTo>
                  <a:lnTo>
                    <a:pt x="13228" y="56615"/>
                  </a:lnTo>
                  <a:lnTo>
                    <a:pt x="13228" y="19048"/>
                  </a:lnTo>
                  <a:lnTo>
                    <a:pt x="23810" y="12698"/>
                  </a:lnTo>
                  <a:lnTo>
                    <a:pt x="34922" y="12698"/>
                  </a:lnTo>
                  <a:cubicBezTo>
                    <a:pt x="38626" y="12698"/>
                    <a:pt x="41271" y="10053"/>
                    <a:pt x="41271" y="6349"/>
                  </a:cubicBezTo>
                  <a:cubicBezTo>
                    <a:pt x="41271" y="2646"/>
                    <a:pt x="38626" y="0"/>
                    <a:pt x="34922" y="0"/>
                  </a:cubicBezTo>
                  <a:lnTo>
                    <a:pt x="21694" y="0"/>
                  </a:lnTo>
                  <a:cubicBezTo>
                    <a:pt x="20635" y="0"/>
                    <a:pt x="19048" y="528"/>
                    <a:pt x="17990" y="1058"/>
                  </a:cubicBezTo>
                  <a:lnTo>
                    <a:pt x="3175" y="10582"/>
                  </a:lnTo>
                  <a:cubicBezTo>
                    <a:pt x="1058" y="11640"/>
                    <a:pt x="0" y="13756"/>
                    <a:pt x="0" y="15874"/>
                  </a:cubicBezTo>
                  <a:lnTo>
                    <a:pt x="0" y="60849"/>
                  </a:lnTo>
                  <a:cubicBezTo>
                    <a:pt x="1058" y="62965"/>
                    <a:pt x="2116" y="65610"/>
                    <a:pt x="4233" y="66668"/>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6" name="Forma libre 494">
              <a:extLst>
                <a:ext uri="{FF2B5EF4-FFF2-40B4-BE49-F238E27FC236}">
                  <a16:creationId xmlns:a16="http://schemas.microsoft.com/office/drawing/2014/main" id="{251A67EE-62E9-466F-9D97-0E1379398B56}"/>
                </a:ext>
              </a:extLst>
            </p:cNvPr>
            <p:cNvSpPr/>
            <p:nvPr/>
          </p:nvSpPr>
          <p:spPr>
            <a:xfrm>
              <a:off x="3179233" y="12418953"/>
              <a:ext cx="158736" cy="158736"/>
            </a:xfrm>
            <a:custGeom>
              <a:avLst/>
              <a:gdLst>
                <a:gd name="connsiteX0" fmla="*/ 159794 w 158735"/>
                <a:gd name="connsiteY0" fmla="*/ 79896 h 158735"/>
                <a:gd name="connsiteX1" fmla="*/ 79897 w 158735"/>
                <a:gd name="connsiteY1" fmla="*/ 0 h 158735"/>
                <a:gd name="connsiteX2" fmla="*/ 0 w 158735"/>
                <a:gd name="connsiteY2" fmla="*/ 79896 h 158735"/>
                <a:gd name="connsiteX3" fmla="*/ 79897 w 158735"/>
                <a:gd name="connsiteY3" fmla="*/ 159794 h 158735"/>
                <a:gd name="connsiteX4" fmla="*/ 159794 w 158735"/>
                <a:gd name="connsiteY4" fmla="*/ 79896 h 158735"/>
                <a:gd name="connsiteX5" fmla="*/ 79897 w 158735"/>
                <a:gd name="connsiteY5" fmla="*/ 147094 h 158735"/>
                <a:gd name="connsiteX6" fmla="*/ 12699 w 158735"/>
                <a:gd name="connsiteY6" fmla="*/ 79896 h 158735"/>
                <a:gd name="connsiteX7" fmla="*/ 79897 w 158735"/>
                <a:gd name="connsiteY7" fmla="*/ 12698 h 158735"/>
                <a:gd name="connsiteX8" fmla="*/ 147095 w 158735"/>
                <a:gd name="connsiteY8" fmla="*/ 79896 h 158735"/>
                <a:gd name="connsiteX9" fmla="*/ 79897 w 158735"/>
                <a:gd name="connsiteY9" fmla="*/ 147094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58735" h="158735">
                  <a:moveTo>
                    <a:pt x="159794" y="79896"/>
                  </a:moveTo>
                  <a:cubicBezTo>
                    <a:pt x="159794" y="35451"/>
                    <a:pt x="123814" y="0"/>
                    <a:pt x="79897" y="0"/>
                  </a:cubicBezTo>
                  <a:cubicBezTo>
                    <a:pt x="35980" y="0"/>
                    <a:pt x="0" y="35979"/>
                    <a:pt x="0" y="79896"/>
                  </a:cubicBezTo>
                  <a:cubicBezTo>
                    <a:pt x="0" y="124343"/>
                    <a:pt x="35980" y="159794"/>
                    <a:pt x="79897" y="159794"/>
                  </a:cubicBezTo>
                  <a:cubicBezTo>
                    <a:pt x="123814" y="159794"/>
                    <a:pt x="159794" y="123813"/>
                    <a:pt x="159794" y="79896"/>
                  </a:cubicBezTo>
                  <a:close/>
                  <a:moveTo>
                    <a:pt x="79897" y="147094"/>
                  </a:moveTo>
                  <a:cubicBezTo>
                    <a:pt x="42859" y="147094"/>
                    <a:pt x="12699" y="116935"/>
                    <a:pt x="12699" y="79896"/>
                  </a:cubicBezTo>
                  <a:cubicBezTo>
                    <a:pt x="12699" y="42858"/>
                    <a:pt x="42859" y="12698"/>
                    <a:pt x="79897" y="12698"/>
                  </a:cubicBezTo>
                  <a:cubicBezTo>
                    <a:pt x="116935" y="12698"/>
                    <a:pt x="147095" y="42858"/>
                    <a:pt x="147095" y="79896"/>
                  </a:cubicBezTo>
                  <a:cubicBezTo>
                    <a:pt x="147095" y="116935"/>
                    <a:pt x="116935" y="147094"/>
                    <a:pt x="79897" y="147094"/>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7" name="Forma libre 495">
              <a:extLst>
                <a:ext uri="{FF2B5EF4-FFF2-40B4-BE49-F238E27FC236}">
                  <a16:creationId xmlns:a16="http://schemas.microsoft.com/office/drawing/2014/main" id="{34A05DF1-4D43-43DE-8DD6-47FA85046B17}"/>
                </a:ext>
              </a:extLst>
            </p:cNvPr>
            <p:cNvSpPr/>
            <p:nvPr/>
          </p:nvSpPr>
          <p:spPr>
            <a:xfrm>
              <a:off x="3252781" y="12441176"/>
              <a:ext cx="10582" cy="21165"/>
            </a:xfrm>
            <a:custGeom>
              <a:avLst/>
              <a:gdLst>
                <a:gd name="connsiteX0" fmla="*/ 6349 w 10582"/>
                <a:gd name="connsiteY0" fmla="*/ 21693 h 21164"/>
                <a:gd name="connsiteX1" fmla="*/ 12699 w 10582"/>
                <a:gd name="connsiteY1" fmla="*/ 15344 h 21164"/>
                <a:gd name="connsiteX2" fmla="*/ 12699 w 10582"/>
                <a:gd name="connsiteY2" fmla="*/ 6349 h 21164"/>
                <a:gd name="connsiteX3" fmla="*/ 6349 w 10582"/>
                <a:gd name="connsiteY3" fmla="*/ 0 h 21164"/>
                <a:gd name="connsiteX4" fmla="*/ 0 w 10582"/>
                <a:gd name="connsiteY4" fmla="*/ 6349 h 21164"/>
                <a:gd name="connsiteX5" fmla="*/ 0 w 10582"/>
                <a:gd name="connsiteY5" fmla="*/ 15344 h 21164"/>
                <a:gd name="connsiteX6" fmla="*/ 6349 w 10582"/>
                <a:gd name="connsiteY6" fmla="*/ 21693 h 211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2" h="21164">
                  <a:moveTo>
                    <a:pt x="6349" y="21693"/>
                  </a:moveTo>
                  <a:cubicBezTo>
                    <a:pt x="10053" y="21693"/>
                    <a:pt x="12699" y="19048"/>
                    <a:pt x="12699" y="15344"/>
                  </a:cubicBezTo>
                  <a:lnTo>
                    <a:pt x="12699" y="6349"/>
                  </a:lnTo>
                  <a:cubicBezTo>
                    <a:pt x="12699" y="2646"/>
                    <a:pt x="10053" y="0"/>
                    <a:pt x="6349" y="0"/>
                  </a:cubicBezTo>
                  <a:cubicBezTo>
                    <a:pt x="2646" y="0"/>
                    <a:pt x="0" y="2646"/>
                    <a:pt x="0" y="6349"/>
                  </a:cubicBezTo>
                  <a:lnTo>
                    <a:pt x="0" y="15344"/>
                  </a:lnTo>
                  <a:cubicBezTo>
                    <a:pt x="0" y="19048"/>
                    <a:pt x="2646" y="21693"/>
                    <a:pt x="6349" y="21693"/>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8" name="Forma libre 496">
              <a:extLst>
                <a:ext uri="{FF2B5EF4-FFF2-40B4-BE49-F238E27FC236}">
                  <a16:creationId xmlns:a16="http://schemas.microsoft.com/office/drawing/2014/main" id="{48DF5B82-3D0C-478E-93F8-66EB5315D7A3}"/>
                </a:ext>
              </a:extLst>
            </p:cNvPr>
            <p:cNvSpPr/>
            <p:nvPr/>
          </p:nvSpPr>
          <p:spPr>
            <a:xfrm>
              <a:off x="3252781" y="12534300"/>
              <a:ext cx="10582" cy="15874"/>
            </a:xfrm>
            <a:custGeom>
              <a:avLst/>
              <a:gdLst>
                <a:gd name="connsiteX0" fmla="*/ 6349 w 10582"/>
                <a:gd name="connsiteY0" fmla="*/ 0 h 15873"/>
                <a:gd name="connsiteX1" fmla="*/ 0 w 10582"/>
                <a:gd name="connsiteY1" fmla="*/ 6350 h 15873"/>
                <a:gd name="connsiteX2" fmla="*/ 0 w 10582"/>
                <a:gd name="connsiteY2" fmla="*/ 13758 h 15873"/>
                <a:gd name="connsiteX3" fmla="*/ 6349 w 10582"/>
                <a:gd name="connsiteY3" fmla="*/ 20107 h 15873"/>
                <a:gd name="connsiteX4" fmla="*/ 12699 w 10582"/>
                <a:gd name="connsiteY4" fmla="*/ 13758 h 15873"/>
                <a:gd name="connsiteX5" fmla="*/ 12699 w 10582"/>
                <a:gd name="connsiteY5" fmla="*/ 6350 h 15873"/>
                <a:gd name="connsiteX6" fmla="*/ 6349 w 10582"/>
                <a:gd name="connsiteY6" fmla="*/ 0 h 15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582" h="15873">
                  <a:moveTo>
                    <a:pt x="6349" y="0"/>
                  </a:moveTo>
                  <a:cubicBezTo>
                    <a:pt x="2646" y="0"/>
                    <a:pt x="0" y="2646"/>
                    <a:pt x="0" y="6350"/>
                  </a:cubicBezTo>
                  <a:lnTo>
                    <a:pt x="0" y="13758"/>
                  </a:lnTo>
                  <a:cubicBezTo>
                    <a:pt x="0" y="17461"/>
                    <a:pt x="2646" y="20107"/>
                    <a:pt x="6349" y="20107"/>
                  </a:cubicBezTo>
                  <a:cubicBezTo>
                    <a:pt x="10053" y="20107"/>
                    <a:pt x="12699" y="17461"/>
                    <a:pt x="12699" y="13758"/>
                  </a:cubicBezTo>
                  <a:lnTo>
                    <a:pt x="12699" y="6350"/>
                  </a:lnTo>
                  <a:cubicBezTo>
                    <a:pt x="12699" y="2646"/>
                    <a:pt x="10053" y="0"/>
                    <a:pt x="6349" y="0"/>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49" name="Forma libre 497">
              <a:extLst>
                <a:ext uri="{FF2B5EF4-FFF2-40B4-BE49-F238E27FC236}">
                  <a16:creationId xmlns:a16="http://schemas.microsoft.com/office/drawing/2014/main" id="{B90EF94E-DCB5-4EAB-9C69-92A6D6A612FE}"/>
                </a:ext>
              </a:extLst>
            </p:cNvPr>
            <p:cNvSpPr/>
            <p:nvPr/>
          </p:nvSpPr>
          <p:spPr>
            <a:xfrm>
              <a:off x="3230557" y="12470806"/>
              <a:ext cx="52912" cy="52912"/>
            </a:xfrm>
            <a:custGeom>
              <a:avLst/>
              <a:gdLst>
                <a:gd name="connsiteX0" fmla="*/ 39684 w 52911"/>
                <a:gd name="connsiteY0" fmla="*/ 21165 h 52911"/>
                <a:gd name="connsiteX1" fmla="*/ 28573 w 52911"/>
                <a:gd name="connsiteY1" fmla="*/ 21165 h 52911"/>
                <a:gd name="connsiteX2" fmla="*/ 17461 w 52911"/>
                <a:gd name="connsiteY2" fmla="*/ 21165 h 52911"/>
                <a:gd name="connsiteX3" fmla="*/ 13228 w 52911"/>
                <a:gd name="connsiteY3" fmla="*/ 16933 h 52911"/>
                <a:gd name="connsiteX4" fmla="*/ 17461 w 52911"/>
                <a:gd name="connsiteY4" fmla="*/ 12700 h 52911"/>
                <a:gd name="connsiteX5" fmla="*/ 50266 w 52911"/>
                <a:gd name="connsiteY5" fmla="*/ 12700 h 52911"/>
                <a:gd name="connsiteX6" fmla="*/ 56616 w 52911"/>
                <a:gd name="connsiteY6" fmla="*/ 6350 h 52911"/>
                <a:gd name="connsiteX7" fmla="*/ 50266 w 52911"/>
                <a:gd name="connsiteY7" fmla="*/ 0 h 52911"/>
                <a:gd name="connsiteX8" fmla="*/ 17461 w 52911"/>
                <a:gd name="connsiteY8" fmla="*/ 0 h 52911"/>
                <a:gd name="connsiteX9" fmla="*/ 0 w 52911"/>
                <a:gd name="connsiteY9" fmla="*/ 17461 h 52911"/>
                <a:gd name="connsiteX10" fmla="*/ 17461 w 52911"/>
                <a:gd name="connsiteY10" fmla="*/ 34922 h 52911"/>
                <a:gd name="connsiteX11" fmla="*/ 28573 w 52911"/>
                <a:gd name="connsiteY11" fmla="*/ 34922 h 52911"/>
                <a:gd name="connsiteX12" fmla="*/ 39684 w 52911"/>
                <a:gd name="connsiteY12" fmla="*/ 34922 h 52911"/>
                <a:gd name="connsiteX13" fmla="*/ 43917 w 52911"/>
                <a:gd name="connsiteY13" fmla="*/ 39156 h 52911"/>
                <a:gd name="connsiteX14" fmla="*/ 39684 w 52911"/>
                <a:gd name="connsiteY14" fmla="*/ 43389 h 52911"/>
                <a:gd name="connsiteX15" fmla="*/ 6349 w 52911"/>
                <a:gd name="connsiteY15" fmla="*/ 43389 h 52911"/>
                <a:gd name="connsiteX16" fmla="*/ 0 w 52911"/>
                <a:gd name="connsiteY16" fmla="*/ 49738 h 52911"/>
                <a:gd name="connsiteX17" fmla="*/ 6349 w 52911"/>
                <a:gd name="connsiteY17" fmla="*/ 56087 h 52911"/>
                <a:gd name="connsiteX18" fmla="*/ 39684 w 52911"/>
                <a:gd name="connsiteY18" fmla="*/ 56087 h 52911"/>
                <a:gd name="connsiteX19" fmla="*/ 57145 w 52911"/>
                <a:gd name="connsiteY19" fmla="*/ 38626 h 52911"/>
                <a:gd name="connsiteX20" fmla="*/ 39684 w 52911"/>
                <a:gd name="connsiteY20" fmla="*/ 21165 h 5291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2911" h="52911">
                  <a:moveTo>
                    <a:pt x="39684" y="21165"/>
                  </a:moveTo>
                  <a:lnTo>
                    <a:pt x="28573" y="21165"/>
                  </a:lnTo>
                  <a:lnTo>
                    <a:pt x="17461" y="21165"/>
                  </a:lnTo>
                  <a:cubicBezTo>
                    <a:pt x="14815" y="21165"/>
                    <a:pt x="13228" y="19049"/>
                    <a:pt x="13228" y="16933"/>
                  </a:cubicBezTo>
                  <a:cubicBezTo>
                    <a:pt x="13228" y="14287"/>
                    <a:pt x="15345" y="12700"/>
                    <a:pt x="17461" y="12700"/>
                  </a:cubicBezTo>
                  <a:lnTo>
                    <a:pt x="50266" y="12700"/>
                  </a:lnTo>
                  <a:cubicBezTo>
                    <a:pt x="53970" y="12700"/>
                    <a:pt x="56616" y="10054"/>
                    <a:pt x="56616" y="6350"/>
                  </a:cubicBezTo>
                  <a:cubicBezTo>
                    <a:pt x="56616" y="2646"/>
                    <a:pt x="53970" y="0"/>
                    <a:pt x="50266" y="0"/>
                  </a:cubicBezTo>
                  <a:lnTo>
                    <a:pt x="17461" y="0"/>
                  </a:lnTo>
                  <a:cubicBezTo>
                    <a:pt x="7937" y="0"/>
                    <a:pt x="0" y="7937"/>
                    <a:pt x="0" y="17461"/>
                  </a:cubicBezTo>
                  <a:cubicBezTo>
                    <a:pt x="0" y="26986"/>
                    <a:pt x="7937" y="34922"/>
                    <a:pt x="17461" y="34922"/>
                  </a:cubicBezTo>
                  <a:lnTo>
                    <a:pt x="28573" y="34922"/>
                  </a:lnTo>
                  <a:lnTo>
                    <a:pt x="39684" y="34922"/>
                  </a:lnTo>
                  <a:cubicBezTo>
                    <a:pt x="42330" y="34922"/>
                    <a:pt x="43917" y="37038"/>
                    <a:pt x="43917" y="39156"/>
                  </a:cubicBezTo>
                  <a:cubicBezTo>
                    <a:pt x="43917" y="41801"/>
                    <a:pt x="41801" y="43389"/>
                    <a:pt x="39684" y="43389"/>
                  </a:cubicBezTo>
                  <a:lnTo>
                    <a:pt x="6349" y="43389"/>
                  </a:lnTo>
                  <a:cubicBezTo>
                    <a:pt x="2646" y="43389"/>
                    <a:pt x="0" y="46034"/>
                    <a:pt x="0" y="49738"/>
                  </a:cubicBezTo>
                  <a:cubicBezTo>
                    <a:pt x="0" y="53442"/>
                    <a:pt x="2646" y="56087"/>
                    <a:pt x="6349" y="56087"/>
                  </a:cubicBezTo>
                  <a:lnTo>
                    <a:pt x="39684" y="56087"/>
                  </a:lnTo>
                  <a:cubicBezTo>
                    <a:pt x="49208" y="56087"/>
                    <a:pt x="57145" y="48150"/>
                    <a:pt x="57145" y="38626"/>
                  </a:cubicBezTo>
                  <a:cubicBezTo>
                    <a:pt x="57145" y="29102"/>
                    <a:pt x="49208" y="21165"/>
                    <a:pt x="39684" y="21165"/>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0" name="Forma libre 498">
              <a:extLst>
                <a:ext uri="{FF2B5EF4-FFF2-40B4-BE49-F238E27FC236}">
                  <a16:creationId xmlns:a16="http://schemas.microsoft.com/office/drawing/2014/main" id="{D54AC523-0A41-419A-A730-ABE50C41D6EF}"/>
                </a:ext>
              </a:extLst>
            </p:cNvPr>
            <p:cNvSpPr/>
            <p:nvPr/>
          </p:nvSpPr>
          <p:spPr>
            <a:xfrm>
              <a:off x="3026509" y="12439059"/>
              <a:ext cx="158736" cy="142862"/>
            </a:xfrm>
            <a:custGeom>
              <a:avLst/>
              <a:gdLst>
                <a:gd name="connsiteX0" fmla="*/ 16740 w 158735"/>
                <a:gd name="connsiteY0" fmla="*/ 141276 h 142862"/>
                <a:gd name="connsiteX1" fmla="*/ 16740 w 158735"/>
                <a:gd name="connsiteY1" fmla="*/ 141276 h 142862"/>
                <a:gd name="connsiteX2" fmla="*/ 17799 w 158735"/>
                <a:gd name="connsiteY2" fmla="*/ 142862 h 142862"/>
                <a:gd name="connsiteX3" fmla="*/ 18328 w 158735"/>
                <a:gd name="connsiteY3" fmla="*/ 143392 h 142862"/>
                <a:gd name="connsiteX4" fmla="*/ 18857 w 158735"/>
                <a:gd name="connsiteY4" fmla="*/ 143921 h 142862"/>
                <a:gd name="connsiteX5" fmla="*/ 21502 w 158735"/>
                <a:gd name="connsiteY5" fmla="*/ 144450 h 142862"/>
                <a:gd name="connsiteX6" fmla="*/ 23090 w 158735"/>
                <a:gd name="connsiteY6" fmla="*/ 144450 h 142862"/>
                <a:gd name="connsiteX7" fmla="*/ 23619 w 158735"/>
                <a:gd name="connsiteY7" fmla="*/ 144450 h 142862"/>
                <a:gd name="connsiteX8" fmla="*/ 26265 w 158735"/>
                <a:gd name="connsiteY8" fmla="*/ 142862 h 142862"/>
                <a:gd name="connsiteX9" fmla="*/ 45313 w 158735"/>
                <a:gd name="connsiteY9" fmla="*/ 120111 h 142862"/>
                <a:gd name="connsiteX10" fmla="*/ 44784 w 158735"/>
                <a:gd name="connsiteY10" fmla="*/ 111115 h 142862"/>
                <a:gd name="connsiteX11" fmla="*/ 35789 w 158735"/>
                <a:gd name="connsiteY11" fmla="*/ 111645 h 142862"/>
                <a:gd name="connsiteX12" fmla="*/ 29439 w 158735"/>
                <a:gd name="connsiteY12" fmla="*/ 119052 h 142862"/>
                <a:gd name="connsiteX13" fmla="*/ 153782 w 158735"/>
                <a:gd name="connsiteY13" fmla="*/ 12700 h 142862"/>
                <a:gd name="connsiteX14" fmla="*/ 160132 w 158735"/>
                <a:gd name="connsiteY14" fmla="*/ 6350 h 142862"/>
                <a:gd name="connsiteX15" fmla="*/ 153782 w 158735"/>
                <a:gd name="connsiteY15" fmla="*/ 0 h 142862"/>
                <a:gd name="connsiteX16" fmla="*/ 16211 w 158735"/>
                <a:gd name="connsiteY16" fmla="*/ 119052 h 142862"/>
                <a:gd name="connsiteX17" fmla="*/ 11978 w 158735"/>
                <a:gd name="connsiteY17" fmla="*/ 112703 h 142862"/>
                <a:gd name="connsiteX18" fmla="*/ 2983 w 158735"/>
                <a:gd name="connsiteY18" fmla="*/ 110587 h 142862"/>
                <a:gd name="connsiteX19" fmla="*/ 867 w 158735"/>
                <a:gd name="connsiteY19" fmla="*/ 119581 h 142862"/>
                <a:gd name="connsiteX20" fmla="*/ 16740 w 158735"/>
                <a:gd name="connsiteY20" fmla="*/ 141276 h 1428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8735" h="142862">
                  <a:moveTo>
                    <a:pt x="16740" y="141276"/>
                  </a:moveTo>
                  <a:cubicBezTo>
                    <a:pt x="16740" y="141276"/>
                    <a:pt x="17270" y="141276"/>
                    <a:pt x="16740" y="141276"/>
                  </a:cubicBezTo>
                  <a:cubicBezTo>
                    <a:pt x="17270" y="141804"/>
                    <a:pt x="17799" y="142334"/>
                    <a:pt x="17799" y="142862"/>
                  </a:cubicBezTo>
                  <a:cubicBezTo>
                    <a:pt x="17799" y="142862"/>
                    <a:pt x="18328" y="143392"/>
                    <a:pt x="18328" y="143392"/>
                  </a:cubicBezTo>
                  <a:cubicBezTo>
                    <a:pt x="18328" y="143392"/>
                    <a:pt x="18857" y="143921"/>
                    <a:pt x="18857" y="143921"/>
                  </a:cubicBezTo>
                  <a:cubicBezTo>
                    <a:pt x="19915" y="144450"/>
                    <a:pt x="20444" y="144450"/>
                    <a:pt x="21502" y="144450"/>
                  </a:cubicBezTo>
                  <a:cubicBezTo>
                    <a:pt x="22031" y="144450"/>
                    <a:pt x="22561" y="144450"/>
                    <a:pt x="23090" y="144450"/>
                  </a:cubicBezTo>
                  <a:cubicBezTo>
                    <a:pt x="23090" y="144450"/>
                    <a:pt x="23090" y="144450"/>
                    <a:pt x="23619" y="144450"/>
                  </a:cubicBezTo>
                  <a:cubicBezTo>
                    <a:pt x="24677" y="143921"/>
                    <a:pt x="25735" y="143392"/>
                    <a:pt x="26265" y="142862"/>
                  </a:cubicBezTo>
                  <a:lnTo>
                    <a:pt x="45313" y="120111"/>
                  </a:lnTo>
                  <a:cubicBezTo>
                    <a:pt x="47429" y="117465"/>
                    <a:pt x="47429" y="113232"/>
                    <a:pt x="44784" y="111115"/>
                  </a:cubicBezTo>
                  <a:cubicBezTo>
                    <a:pt x="42138" y="108999"/>
                    <a:pt x="37905" y="108999"/>
                    <a:pt x="35789" y="111645"/>
                  </a:cubicBezTo>
                  <a:lnTo>
                    <a:pt x="29439" y="119052"/>
                  </a:lnTo>
                  <a:cubicBezTo>
                    <a:pt x="38963" y="58733"/>
                    <a:pt x="90817" y="12700"/>
                    <a:pt x="153782" y="12700"/>
                  </a:cubicBezTo>
                  <a:cubicBezTo>
                    <a:pt x="157486" y="12700"/>
                    <a:pt x="160132" y="10054"/>
                    <a:pt x="160132" y="6350"/>
                  </a:cubicBezTo>
                  <a:cubicBezTo>
                    <a:pt x="160132" y="2646"/>
                    <a:pt x="157486" y="0"/>
                    <a:pt x="153782" y="0"/>
                  </a:cubicBezTo>
                  <a:cubicBezTo>
                    <a:pt x="83938" y="0"/>
                    <a:pt x="26265" y="51854"/>
                    <a:pt x="16211" y="119052"/>
                  </a:cubicBezTo>
                  <a:lnTo>
                    <a:pt x="11978" y="112703"/>
                  </a:lnTo>
                  <a:cubicBezTo>
                    <a:pt x="9862" y="109529"/>
                    <a:pt x="6158" y="108999"/>
                    <a:pt x="2983" y="110587"/>
                  </a:cubicBezTo>
                  <a:cubicBezTo>
                    <a:pt x="-191" y="112703"/>
                    <a:pt x="-721" y="116406"/>
                    <a:pt x="867" y="119581"/>
                  </a:cubicBezTo>
                  <a:lnTo>
                    <a:pt x="16740" y="141276"/>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51" name="Forma libre 499">
              <a:extLst>
                <a:ext uri="{FF2B5EF4-FFF2-40B4-BE49-F238E27FC236}">
                  <a16:creationId xmlns:a16="http://schemas.microsoft.com/office/drawing/2014/main" id="{225ED7B5-BAE9-4616-89D3-875627E47500}"/>
                </a:ext>
              </a:extLst>
            </p:cNvPr>
            <p:cNvSpPr/>
            <p:nvPr/>
          </p:nvSpPr>
          <p:spPr>
            <a:xfrm>
              <a:off x="3260036" y="12570280"/>
              <a:ext cx="68785" cy="116406"/>
            </a:xfrm>
            <a:custGeom>
              <a:avLst/>
              <a:gdLst>
                <a:gd name="connsiteX0" fmla="*/ 57297 w 68785"/>
                <a:gd name="connsiteY0" fmla="*/ 3175 h 116406"/>
                <a:gd name="connsiteX1" fmla="*/ 52006 w 68785"/>
                <a:gd name="connsiteY1" fmla="*/ 0 h 116406"/>
                <a:gd name="connsiteX2" fmla="*/ 46185 w 68785"/>
                <a:gd name="connsiteY2" fmla="*/ 2646 h 116406"/>
                <a:gd name="connsiteX3" fmla="*/ 28724 w 68785"/>
                <a:gd name="connsiteY3" fmla="*/ 25398 h 116406"/>
                <a:gd name="connsiteX4" fmla="*/ 29783 w 68785"/>
                <a:gd name="connsiteY4" fmla="*/ 34393 h 116406"/>
                <a:gd name="connsiteX5" fmla="*/ 38778 w 68785"/>
                <a:gd name="connsiteY5" fmla="*/ 33335 h 116406"/>
                <a:gd name="connsiteX6" fmla="*/ 43011 w 68785"/>
                <a:gd name="connsiteY6" fmla="*/ 28044 h 116406"/>
                <a:gd name="connsiteX7" fmla="*/ 2268 w 68785"/>
                <a:gd name="connsiteY7" fmla="*/ 110057 h 116406"/>
                <a:gd name="connsiteX8" fmla="*/ 1739 w 68785"/>
                <a:gd name="connsiteY8" fmla="*/ 119052 h 116406"/>
                <a:gd name="connsiteX9" fmla="*/ 6501 w 68785"/>
                <a:gd name="connsiteY9" fmla="*/ 121169 h 116406"/>
                <a:gd name="connsiteX10" fmla="*/ 10734 w 68785"/>
                <a:gd name="connsiteY10" fmla="*/ 119581 h 116406"/>
                <a:gd name="connsiteX11" fmla="*/ 55709 w 68785"/>
                <a:gd name="connsiteY11" fmla="*/ 28573 h 116406"/>
                <a:gd name="connsiteX12" fmla="*/ 57826 w 68785"/>
                <a:gd name="connsiteY12" fmla="*/ 32277 h 116406"/>
                <a:gd name="connsiteX13" fmla="*/ 63646 w 68785"/>
                <a:gd name="connsiteY13" fmla="*/ 35451 h 116406"/>
                <a:gd name="connsiteX14" fmla="*/ 66821 w 68785"/>
                <a:gd name="connsiteY14" fmla="*/ 34393 h 116406"/>
                <a:gd name="connsiteX15" fmla="*/ 69467 w 68785"/>
                <a:gd name="connsiteY15" fmla="*/ 25398 h 116406"/>
                <a:gd name="connsiteX16" fmla="*/ 57297 w 68785"/>
                <a:gd name="connsiteY16" fmla="*/ 3175 h 1164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68785" h="116406">
                  <a:moveTo>
                    <a:pt x="57297" y="3175"/>
                  </a:moveTo>
                  <a:cubicBezTo>
                    <a:pt x="56239" y="1058"/>
                    <a:pt x="54122" y="0"/>
                    <a:pt x="52006" y="0"/>
                  </a:cubicBezTo>
                  <a:cubicBezTo>
                    <a:pt x="49889" y="0"/>
                    <a:pt x="47773" y="530"/>
                    <a:pt x="46185" y="2646"/>
                  </a:cubicBezTo>
                  <a:lnTo>
                    <a:pt x="28724" y="25398"/>
                  </a:lnTo>
                  <a:cubicBezTo>
                    <a:pt x="26608" y="28044"/>
                    <a:pt x="27137" y="32277"/>
                    <a:pt x="29783" y="34393"/>
                  </a:cubicBezTo>
                  <a:cubicBezTo>
                    <a:pt x="32428" y="36510"/>
                    <a:pt x="36661" y="35980"/>
                    <a:pt x="38778" y="33335"/>
                  </a:cubicBezTo>
                  <a:lnTo>
                    <a:pt x="43011" y="28044"/>
                  </a:lnTo>
                  <a:cubicBezTo>
                    <a:pt x="40894" y="59791"/>
                    <a:pt x="26079" y="89422"/>
                    <a:pt x="2268" y="110057"/>
                  </a:cubicBezTo>
                  <a:cubicBezTo>
                    <a:pt x="-377" y="112173"/>
                    <a:pt x="-906" y="116406"/>
                    <a:pt x="1739" y="119052"/>
                  </a:cubicBezTo>
                  <a:cubicBezTo>
                    <a:pt x="2797" y="120639"/>
                    <a:pt x="4914" y="121169"/>
                    <a:pt x="6501" y="121169"/>
                  </a:cubicBezTo>
                  <a:cubicBezTo>
                    <a:pt x="8089" y="121169"/>
                    <a:pt x="9676" y="120639"/>
                    <a:pt x="10734" y="119581"/>
                  </a:cubicBezTo>
                  <a:cubicBezTo>
                    <a:pt x="37190" y="96299"/>
                    <a:pt x="53593" y="63494"/>
                    <a:pt x="55709" y="28573"/>
                  </a:cubicBezTo>
                  <a:lnTo>
                    <a:pt x="57826" y="32277"/>
                  </a:lnTo>
                  <a:cubicBezTo>
                    <a:pt x="58884" y="34393"/>
                    <a:pt x="61000" y="35451"/>
                    <a:pt x="63646" y="35451"/>
                  </a:cubicBezTo>
                  <a:cubicBezTo>
                    <a:pt x="64704" y="35451"/>
                    <a:pt x="65763" y="34922"/>
                    <a:pt x="66821" y="34393"/>
                  </a:cubicBezTo>
                  <a:cubicBezTo>
                    <a:pt x="69996" y="32805"/>
                    <a:pt x="71054" y="28573"/>
                    <a:pt x="69467" y="25398"/>
                  </a:cubicBezTo>
                  <a:lnTo>
                    <a:pt x="57297" y="3175"/>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52" name="Freeform 36">
            <a:extLst>
              <a:ext uri="{FF2B5EF4-FFF2-40B4-BE49-F238E27FC236}">
                <a16:creationId xmlns:a16="http://schemas.microsoft.com/office/drawing/2014/main" id="{9216260D-3D36-4773-834D-35E474E5B8FC}"/>
              </a:ext>
            </a:extLst>
          </p:cNvPr>
          <p:cNvSpPr>
            <a:spLocks noChangeAspect="1"/>
          </p:cNvSpPr>
          <p:nvPr/>
        </p:nvSpPr>
        <p:spPr>
          <a:xfrm>
            <a:off x="7623298" y="1873074"/>
            <a:ext cx="598792" cy="602752"/>
          </a:xfrm>
          <a:custGeom>
            <a:avLst/>
            <a:gdLst>
              <a:gd name="connsiteX0" fmla="*/ 197488 w 199259"/>
              <a:gd name="connsiteY0" fmla="*/ 32105 h 200577"/>
              <a:gd name="connsiteX1" fmla="*/ 164667 w 199259"/>
              <a:gd name="connsiteY1" fmla="*/ 32105 h 200577"/>
              <a:gd name="connsiteX2" fmla="*/ 164667 w 199259"/>
              <a:gd name="connsiteY2" fmla="*/ 4710 h 200577"/>
              <a:gd name="connsiteX3" fmla="*/ 159957 w 199259"/>
              <a:gd name="connsiteY3" fmla="*/ 0 h 200577"/>
              <a:gd name="connsiteX4" fmla="*/ 150047 w 199259"/>
              <a:gd name="connsiteY4" fmla="*/ 0 h 200577"/>
              <a:gd name="connsiteX5" fmla="*/ 145337 w 199259"/>
              <a:gd name="connsiteY5" fmla="*/ 4710 h 200577"/>
              <a:gd name="connsiteX6" fmla="*/ 145337 w 199259"/>
              <a:gd name="connsiteY6" fmla="*/ 32180 h 200577"/>
              <a:gd name="connsiteX7" fmla="*/ 53960 w 199259"/>
              <a:gd name="connsiteY7" fmla="*/ 32180 h 200577"/>
              <a:gd name="connsiteX8" fmla="*/ 53960 w 199259"/>
              <a:gd name="connsiteY8" fmla="*/ 4710 h 200577"/>
              <a:gd name="connsiteX9" fmla="*/ 49250 w 199259"/>
              <a:gd name="connsiteY9" fmla="*/ 0 h 200577"/>
              <a:gd name="connsiteX10" fmla="*/ 39452 w 199259"/>
              <a:gd name="connsiteY10" fmla="*/ 0 h 200577"/>
              <a:gd name="connsiteX11" fmla="*/ 34742 w 199259"/>
              <a:gd name="connsiteY11" fmla="*/ 4710 h 200577"/>
              <a:gd name="connsiteX12" fmla="*/ 34742 w 199259"/>
              <a:gd name="connsiteY12" fmla="*/ 32180 h 200577"/>
              <a:gd name="connsiteX13" fmla="*/ 1884 w 199259"/>
              <a:gd name="connsiteY13" fmla="*/ 32180 h 200577"/>
              <a:gd name="connsiteX14" fmla="*/ 0 w 199259"/>
              <a:gd name="connsiteY14" fmla="*/ 34064 h 200577"/>
              <a:gd name="connsiteX15" fmla="*/ 0 w 199259"/>
              <a:gd name="connsiteY15" fmla="*/ 198694 h 200577"/>
              <a:gd name="connsiteX16" fmla="*/ 1884 w 199259"/>
              <a:gd name="connsiteY16" fmla="*/ 200578 h 200577"/>
              <a:gd name="connsiteX17" fmla="*/ 197375 w 199259"/>
              <a:gd name="connsiteY17" fmla="*/ 200578 h 200577"/>
              <a:gd name="connsiteX18" fmla="*/ 199259 w 199259"/>
              <a:gd name="connsiteY18" fmla="*/ 198694 h 200577"/>
              <a:gd name="connsiteX19" fmla="*/ 199259 w 199259"/>
              <a:gd name="connsiteY19" fmla="*/ 33989 h 200577"/>
              <a:gd name="connsiteX20" fmla="*/ 197488 w 199259"/>
              <a:gd name="connsiteY20" fmla="*/ 32105 h 200577"/>
              <a:gd name="connsiteX21" fmla="*/ 149218 w 199259"/>
              <a:gd name="connsiteY21" fmla="*/ 4710 h 200577"/>
              <a:gd name="connsiteX22" fmla="*/ 150160 w 199259"/>
              <a:gd name="connsiteY22" fmla="*/ 3768 h 200577"/>
              <a:gd name="connsiteX23" fmla="*/ 159957 w 199259"/>
              <a:gd name="connsiteY23" fmla="*/ 3768 h 200577"/>
              <a:gd name="connsiteX24" fmla="*/ 160899 w 199259"/>
              <a:gd name="connsiteY24" fmla="*/ 4710 h 200577"/>
              <a:gd name="connsiteX25" fmla="*/ 160899 w 199259"/>
              <a:gd name="connsiteY25" fmla="*/ 45368 h 200577"/>
              <a:gd name="connsiteX26" fmla="*/ 159957 w 199259"/>
              <a:gd name="connsiteY26" fmla="*/ 46310 h 200577"/>
              <a:gd name="connsiteX27" fmla="*/ 150047 w 199259"/>
              <a:gd name="connsiteY27" fmla="*/ 46310 h 200577"/>
              <a:gd name="connsiteX28" fmla="*/ 149105 w 199259"/>
              <a:gd name="connsiteY28" fmla="*/ 45368 h 200577"/>
              <a:gd name="connsiteX29" fmla="*/ 38623 w 199259"/>
              <a:gd name="connsiteY29" fmla="*/ 4710 h 200577"/>
              <a:gd name="connsiteX30" fmla="*/ 39565 w 199259"/>
              <a:gd name="connsiteY30" fmla="*/ 3768 h 200577"/>
              <a:gd name="connsiteX31" fmla="*/ 49363 w 199259"/>
              <a:gd name="connsiteY31" fmla="*/ 3768 h 200577"/>
              <a:gd name="connsiteX32" fmla="*/ 50305 w 199259"/>
              <a:gd name="connsiteY32" fmla="*/ 4710 h 200577"/>
              <a:gd name="connsiteX33" fmla="*/ 50305 w 199259"/>
              <a:gd name="connsiteY33" fmla="*/ 45368 h 200577"/>
              <a:gd name="connsiteX34" fmla="*/ 49363 w 199259"/>
              <a:gd name="connsiteY34" fmla="*/ 46310 h 200577"/>
              <a:gd name="connsiteX35" fmla="*/ 39565 w 199259"/>
              <a:gd name="connsiteY35" fmla="*/ 46310 h 200577"/>
              <a:gd name="connsiteX36" fmla="*/ 38623 w 199259"/>
              <a:gd name="connsiteY36" fmla="*/ 45368 h 200577"/>
              <a:gd name="connsiteX37" fmla="*/ 34855 w 199259"/>
              <a:gd name="connsiteY37" fmla="*/ 35948 h 200577"/>
              <a:gd name="connsiteX38" fmla="*/ 34855 w 199259"/>
              <a:gd name="connsiteY38" fmla="*/ 45368 h 200577"/>
              <a:gd name="connsiteX39" fmla="*/ 39565 w 199259"/>
              <a:gd name="connsiteY39" fmla="*/ 50078 h 200577"/>
              <a:gd name="connsiteX40" fmla="*/ 49363 w 199259"/>
              <a:gd name="connsiteY40" fmla="*/ 50078 h 200577"/>
              <a:gd name="connsiteX41" fmla="*/ 54073 w 199259"/>
              <a:gd name="connsiteY41" fmla="*/ 45368 h 200577"/>
              <a:gd name="connsiteX42" fmla="*/ 54073 w 199259"/>
              <a:gd name="connsiteY42" fmla="*/ 35948 h 200577"/>
              <a:gd name="connsiteX43" fmla="*/ 145450 w 199259"/>
              <a:gd name="connsiteY43" fmla="*/ 35948 h 200577"/>
              <a:gd name="connsiteX44" fmla="*/ 145450 w 199259"/>
              <a:gd name="connsiteY44" fmla="*/ 45368 h 200577"/>
              <a:gd name="connsiteX45" fmla="*/ 150047 w 199259"/>
              <a:gd name="connsiteY45" fmla="*/ 49928 h 200577"/>
              <a:gd name="connsiteX46" fmla="*/ 159844 w 199259"/>
              <a:gd name="connsiteY46" fmla="*/ 49928 h 200577"/>
              <a:gd name="connsiteX47" fmla="*/ 164554 w 199259"/>
              <a:gd name="connsiteY47" fmla="*/ 45218 h 200577"/>
              <a:gd name="connsiteX48" fmla="*/ 164554 w 199259"/>
              <a:gd name="connsiteY48" fmla="*/ 35797 h 200577"/>
              <a:gd name="connsiteX49" fmla="*/ 195491 w 199259"/>
              <a:gd name="connsiteY49" fmla="*/ 35797 h 200577"/>
              <a:gd name="connsiteX50" fmla="*/ 195491 w 199259"/>
              <a:gd name="connsiteY50" fmla="*/ 62890 h 200577"/>
              <a:gd name="connsiteX51" fmla="*/ 3768 w 199259"/>
              <a:gd name="connsiteY51" fmla="*/ 62890 h 200577"/>
              <a:gd name="connsiteX52" fmla="*/ 3768 w 199259"/>
              <a:gd name="connsiteY52" fmla="*/ 35797 h 200577"/>
              <a:gd name="connsiteX53" fmla="*/ 3881 w 199259"/>
              <a:gd name="connsiteY53" fmla="*/ 196885 h 200577"/>
              <a:gd name="connsiteX54" fmla="*/ 3881 w 199259"/>
              <a:gd name="connsiteY54" fmla="*/ 66884 h 200577"/>
              <a:gd name="connsiteX55" fmla="*/ 195604 w 199259"/>
              <a:gd name="connsiteY55" fmla="*/ 66884 h 200577"/>
              <a:gd name="connsiteX56" fmla="*/ 195604 w 199259"/>
              <a:gd name="connsiteY56" fmla="*/ 196885 h 200577"/>
              <a:gd name="connsiteX57" fmla="*/ 83728 w 199259"/>
              <a:gd name="connsiteY57" fmla="*/ 97180 h 200577"/>
              <a:gd name="connsiteX58" fmla="*/ 83728 w 199259"/>
              <a:gd name="connsiteY58" fmla="*/ 157734 h 200577"/>
              <a:gd name="connsiteX59" fmla="*/ 77661 w 199259"/>
              <a:gd name="connsiteY59" fmla="*/ 161502 h 200577"/>
              <a:gd name="connsiteX60" fmla="*/ 71595 w 199259"/>
              <a:gd name="connsiteY60" fmla="*/ 157734 h 200577"/>
              <a:gd name="connsiteX61" fmla="*/ 71595 w 199259"/>
              <a:gd name="connsiteY61" fmla="*/ 107995 h 200577"/>
              <a:gd name="connsiteX62" fmla="*/ 68618 w 199259"/>
              <a:gd name="connsiteY62" fmla="*/ 110972 h 200577"/>
              <a:gd name="connsiteX63" fmla="*/ 66395 w 199259"/>
              <a:gd name="connsiteY63" fmla="*/ 111800 h 200577"/>
              <a:gd name="connsiteX64" fmla="*/ 62627 w 199259"/>
              <a:gd name="connsiteY64" fmla="*/ 106940 h 200577"/>
              <a:gd name="connsiteX65" fmla="*/ 64963 w 199259"/>
              <a:gd name="connsiteY65" fmla="*/ 102569 h 200577"/>
              <a:gd name="connsiteX66" fmla="*/ 75965 w 199259"/>
              <a:gd name="connsiteY66" fmla="*/ 94203 h 200577"/>
              <a:gd name="connsiteX67" fmla="*/ 78453 w 199259"/>
              <a:gd name="connsiteY67" fmla="*/ 93261 h 200577"/>
              <a:gd name="connsiteX68" fmla="*/ 83728 w 199259"/>
              <a:gd name="connsiteY68" fmla="*/ 97029 h 200577"/>
              <a:gd name="connsiteX69" fmla="*/ 115154 w 199259"/>
              <a:gd name="connsiteY69" fmla="*/ 93412 h 200577"/>
              <a:gd name="connsiteX70" fmla="*/ 93336 w 199259"/>
              <a:gd name="connsiteY70" fmla="*/ 114740 h 200577"/>
              <a:gd name="connsiteX71" fmla="*/ 93336 w 199259"/>
              <a:gd name="connsiteY71" fmla="*/ 140740 h 200577"/>
              <a:gd name="connsiteX72" fmla="*/ 115154 w 199259"/>
              <a:gd name="connsiteY72" fmla="*/ 162067 h 200577"/>
              <a:gd name="connsiteX73" fmla="*/ 137047 w 199259"/>
              <a:gd name="connsiteY73" fmla="*/ 140740 h 200577"/>
              <a:gd name="connsiteX74" fmla="*/ 137047 w 199259"/>
              <a:gd name="connsiteY74" fmla="*/ 114740 h 200577"/>
              <a:gd name="connsiteX75" fmla="*/ 115154 w 199259"/>
              <a:gd name="connsiteY75" fmla="*/ 93299 h 200577"/>
              <a:gd name="connsiteX76" fmla="*/ 124913 w 199259"/>
              <a:gd name="connsiteY76" fmla="*/ 140740 h 200577"/>
              <a:gd name="connsiteX77" fmla="*/ 115154 w 199259"/>
              <a:gd name="connsiteY77" fmla="*/ 151441 h 200577"/>
              <a:gd name="connsiteX78" fmla="*/ 105432 w 199259"/>
              <a:gd name="connsiteY78" fmla="*/ 140740 h 200577"/>
              <a:gd name="connsiteX79" fmla="*/ 105432 w 199259"/>
              <a:gd name="connsiteY79" fmla="*/ 114740 h 200577"/>
              <a:gd name="connsiteX80" fmla="*/ 115154 w 199259"/>
              <a:gd name="connsiteY80" fmla="*/ 104038 h 200577"/>
              <a:gd name="connsiteX81" fmla="*/ 124913 w 199259"/>
              <a:gd name="connsiteY81" fmla="*/ 114740 h 20057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Lst>
            <a:rect l="l" t="t" r="r" b="b"/>
            <a:pathLst>
              <a:path w="199259" h="200577">
                <a:moveTo>
                  <a:pt x="197488" y="32105"/>
                </a:moveTo>
                <a:lnTo>
                  <a:pt x="164667" y="32105"/>
                </a:lnTo>
                <a:lnTo>
                  <a:pt x="164667" y="4710"/>
                </a:lnTo>
                <a:cubicBezTo>
                  <a:pt x="164667" y="2109"/>
                  <a:pt x="162558" y="0"/>
                  <a:pt x="159957" y="0"/>
                </a:cubicBezTo>
                <a:lnTo>
                  <a:pt x="150047" y="0"/>
                </a:lnTo>
                <a:cubicBezTo>
                  <a:pt x="147446" y="0"/>
                  <a:pt x="145337" y="2109"/>
                  <a:pt x="145337" y="4710"/>
                </a:cubicBezTo>
                <a:lnTo>
                  <a:pt x="145337" y="32180"/>
                </a:lnTo>
                <a:lnTo>
                  <a:pt x="53960" y="32180"/>
                </a:lnTo>
                <a:lnTo>
                  <a:pt x="53960" y="4710"/>
                </a:lnTo>
                <a:cubicBezTo>
                  <a:pt x="53939" y="2117"/>
                  <a:pt x="51842" y="20"/>
                  <a:pt x="49250" y="0"/>
                </a:cubicBezTo>
                <a:lnTo>
                  <a:pt x="39452" y="0"/>
                </a:lnTo>
                <a:cubicBezTo>
                  <a:pt x="36851" y="0"/>
                  <a:pt x="34742" y="2109"/>
                  <a:pt x="34742" y="4710"/>
                </a:cubicBezTo>
                <a:lnTo>
                  <a:pt x="34742" y="32180"/>
                </a:lnTo>
                <a:lnTo>
                  <a:pt x="1884" y="32180"/>
                </a:lnTo>
                <a:cubicBezTo>
                  <a:pt x="844" y="32180"/>
                  <a:pt x="0" y="33023"/>
                  <a:pt x="0" y="34064"/>
                </a:cubicBezTo>
                <a:lnTo>
                  <a:pt x="0" y="198694"/>
                </a:lnTo>
                <a:cubicBezTo>
                  <a:pt x="0" y="199734"/>
                  <a:pt x="844" y="200578"/>
                  <a:pt x="1884" y="200578"/>
                </a:cubicBezTo>
                <a:lnTo>
                  <a:pt x="197375" y="200578"/>
                </a:lnTo>
                <a:cubicBezTo>
                  <a:pt x="198415" y="200578"/>
                  <a:pt x="199259" y="199734"/>
                  <a:pt x="199259" y="198694"/>
                </a:cubicBezTo>
                <a:lnTo>
                  <a:pt x="199259" y="33989"/>
                </a:lnTo>
                <a:cubicBezTo>
                  <a:pt x="199261" y="32991"/>
                  <a:pt x="198484" y="32164"/>
                  <a:pt x="197488" y="32105"/>
                </a:cubicBezTo>
                <a:close/>
                <a:moveTo>
                  <a:pt x="149218" y="4710"/>
                </a:moveTo>
                <a:cubicBezTo>
                  <a:pt x="149237" y="4198"/>
                  <a:pt x="149648" y="3787"/>
                  <a:pt x="150160" y="3768"/>
                </a:cubicBezTo>
                <a:lnTo>
                  <a:pt x="159957" y="3768"/>
                </a:lnTo>
                <a:cubicBezTo>
                  <a:pt x="160477" y="3768"/>
                  <a:pt x="160899" y="4190"/>
                  <a:pt x="160899" y="4710"/>
                </a:cubicBezTo>
                <a:lnTo>
                  <a:pt x="160899" y="45368"/>
                </a:lnTo>
                <a:cubicBezTo>
                  <a:pt x="160899" y="45888"/>
                  <a:pt x="160477" y="46310"/>
                  <a:pt x="159957" y="46310"/>
                </a:cubicBezTo>
                <a:lnTo>
                  <a:pt x="150047" y="46310"/>
                </a:lnTo>
                <a:cubicBezTo>
                  <a:pt x="149527" y="46310"/>
                  <a:pt x="149105" y="45888"/>
                  <a:pt x="149105" y="45368"/>
                </a:cubicBezTo>
                <a:close/>
                <a:moveTo>
                  <a:pt x="38623" y="4710"/>
                </a:moveTo>
                <a:cubicBezTo>
                  <a:pt x="38623" y="4190"/>
                  <a:pt x="39045" y="3768"/>
                  <a:pt x="39565" y="3768"/>
                </a:cubicBezTo>
                <a:lnTo>
                  <a:pt x="49363" y="3768"/>
                </a:lnTo>
                <a:cubicBezTo>
                  <a:pt x="49875" y="3787"/>
                  <a:pt x="50285" y="4198"/>
                  <a:pt x="50305" y="4710"/>
                </a:cubicBezTo>
                <a:lnTo>
                  <a:pt x="50305" y="45368"/>
                </a:lnTo>
                <a:cubicBezTo>
                  <a:pt x="50305" y="45888"/>
                  <a:pt x="49883" y="46310"/>
                  <a:pt x="49363" y="46310"/>
                </a:cubicBezTo>
                <a:lnTo>
                  <a:pt x="39565" y="46310"/>
                </a:lnTo>
                <a:cubicBezTo>
                  <a:pt x="39045" y="46310"/>
                  <a:pt x="38623" y="45888"/>
                  <a:pt x="38623" y="45368"/>
                </a:cubicBezTo>
                <a:close/>
                <a:moveTo>
                  <a:pt x="34855" y="35948"/>
                </a:moveTo>
                <a:lnTo>
                  <a:pt x="34855" y="45368"/>
                </a:lnTo>
                <a:cubicBezTo>
                  <a:pt x="34855" y="47970"/>
                  <a:pt x="36964" y="50078"/>
                  <a:pt x="39565" y="50078"/>
                </a:cubicBezTo>
                <a:lnTo>
                  <a:pt x="49363" y="50078"/>
                </a:lnTo>
                <a:cubicBezTo>
                  <a:pt x="51956" y="50058"/>
                  <a:pt x="54052" y="47961"/>
                  <a:pt x="54073" y="45368"/>
                </a:cubicBezTo>
                <a:lnTo>
                  <a:pt x="54073" y="35948"/>
                </a:lnTo>
                <a:lnTo>
                  <a:pt x="145450" y="35948"/>
                </a:lnTo>
                <a:lnTo>
                  <a:pt x="145450" y="45368"/>
                </a:lnTo>
                <a:cubicBezTo>
                  <a:pt x="145529" y="47867"/>
                  <a:pt x="147548" y="49869"/>
                  <a:pt x="150047" y="49928"/>
                </a:cubicBezTo>
                <a:lnTo>
                  <a:pt x="159844" y="49928"/>
                </a:lnTo>
                <a:cubicBezTo>
                  <a:pt x="162445" y="49928"/>
                  <a:pt x="164554" y="47819"/>
                  <a:pt x="164554" y="45218"/>
                </a:cubicBezTo>
                <a:lnTo>
                  <a:pt x="164554" y="35797"/>
                </a:lnTo>
                <a:lnTo>
                  <a:pt x="195491" y="35797"/>
                </a:lnTo>
                <a:lnTo>
                  <a:pt x="195491" y="62890"/>
                </a:lnTo>
                <a:lnTo>
                  <a:pt x="3768" y="62890"/>
                </a:lnTo>
                <a:lnTo>
                  <a:pt x="3768" y="35797"/>
                </a:lnTo>
                <a:close/>
                <a:moveTo>
                  <a:pt x="3881" y="196885"/>
                </a:moveTo>
                <a:lnTo>
                  <a:pt x="3881" y="66884"/>
                </a:lnTo>
                <a:lnTo>
                  <a:pt x="195604" y="66884"/>
                </a:lnTo>
                <a:lnTo>
                  <a:pt x="195604" y="196885"/>
                </a:lnTo>
                <a:close/>
                <a:moveTo>
                  <a:pt x="83728" y="97180"/>
                </a:moveTo>
                <a:lnTo>
                  <a:pt x="83728" y="157734"/>
                </a:lnTo>
                <a:cubicBezTo>
                  <a:pt x="83728" y="160259"/>
                  <a:pt x="80638" y="161502"/>
                  <a:pt x="77661" y="161502"/>
                </a:cubicBezTo>
                <a:cubicBezTo>
                  <a:pt x="74684" y="161502"/>
                  <a:pt x="71595" y="160221"/>
                  <a:pt x="71595" y="157734"/>
                </a:cubicBezTo>
                <a:lnTo>
                  <a:pt x="71595" y="107995"/>
                </a:lnTo>
                <a:lnTo>
                  <a:pt x="68618" y="110972"/>
                </a:lnTo>
                <a:cubicBezTo>
                  <a:pt x="68002" y="111509"/>
                  <a:pt x="67212" y="111804"/>
                  <a:pt x="66395" y="111800"/>
                </a:cubicBezTo>
                <a:cubicBezTo>
                  <a:pt x="64050" y="111432"/>
                  <a:pt x="62398" y="109302"/>
                  <a:pt x="62627" y="106940"/>
                </a:cubicBezTo>
                <a:cubicBezTo>
                  <a:pt x="62623" y="105183"/>
                  <a:pt x="63501" y="103542"/>
                  <a:pt x="64963" y="102569"/>
                </a:cubicBezTo>
                <a:lnTo>
                  <a:pt x="75965" y="94203"/>
                </a:lnTo>
                <a:cubicBezTo>
                  <a:pt x="76652" y="93598"/>
                  <a:pt x="77536" y="93263"/>
                  <a:pt x="78453" y="93261"/>
                </a:cubicBezTo>
                <a:cubicBezTo>
                  <a:pt x="80826" y="93111"/>
                  <a:pt x="83728" y="94580"/>
                  <a:pt x="83728" y="97029"/>
                </a:cubicBezTo>
                <a:close/>
                <a:moveTo>
                  <a:pt x="115154" y="93412"/>
                </a:moveTo>
                <a:cubicBezTo>
                  <a:pt x="102832" y="93412"/>
                  <a:pt x="93336" y="99177"/>
                  <a:pt x="93336" y="114740"/>
                </a:cubicBezTo>
                <a:lnTo>
                  <a:pt x="93336" y="140740"/>
                </a:lnTo>
                <a:cubicBezTo>
                  <a:pt x="93336" y="156302"/>
                  <a:pt x="102832" y="162067"/>
                  <a:pt x="115154" y="162067"/>
                </a:cubicBezTo>
                <a:cubicBezTo>
                  <a:pt x="127476" y="162067"/>
                  <a:pt x="137047" y="156302"/>
                  <a:pt x="137047" y="140740"/>
                </a:cubicBezTo>
                <a:lnTo>
                  <a:pt x="137047" y="114740"/>
                </a:lnTo>
                <a:cubicBezTo>
                  <a:pt x="137047" y="98913"/>
                  <a:pt x="127438" y="93299"/>
                  <a:pt x="115154" y="93299"/>
                </a:cubicBezTo>
                <a:close/>
                <a:moveTo>
                  <a:pt x="124913" y="140740"/>
                </a:moveTo>
                <a:cubicBezTo>
                  <a:pt x="124913" y="148088"/>
                  <a:pt x="121145" y="151441"/>
                  <a:pt x="115154" y="151441"/>
                </a:cubicBezTo>
                <a:cubicBezTo>
                  <a:pt x="109163" y="151441"/>
                  <a:pt x="105432" y="148088"/>
                  <a:pt x="105432" y="140740"/>
                </a:cubicBezTo>
                <a:lnTo>
                  <a:pt x="105432" y="114740"/>
                </a:lnTo>
                <a:cubicBezTo>
                  <a:pt x="105432" y="107392"/>
                  <a:pt x="108974" y="104038"/>
                  <a:pt x="115154" y="104038"/>
                </a:cubicBezTo>
                <a:cubicBezTo>
                  <a:pt x="121334" y="104038"/>
                  <a:pt x="124913" y="107392"/>
                  <a:pt x="124913" y="114740"/>
                </a:cubicBezTo>
                <a:close/>
              </a:path>
            </a:pathLst>
          </a:custGeom>
          <a:solidFill>
            <a:srgbClr val="28828B"/>
          </a:solidFill>
          <a:ln w="3762" cap="flat">
            <a:solidFill>
              <a:srgbClr val="28828B"/>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x-none" sz="2400" b="0" i="0" u="none" strike="noStrike" kern="1200" cap="none" spc="0" normalizeH="0" baseline="0" noProof="0" dirty="0">
              <a:ln>
                <a:noFill/>
              </a:ln>
              <a:solidFill>
                <a:srgbClr val="000000"/>
              </a:solidFill>
              <a:effectLst/>
              <a:uLnTx/>
              <a:uFillTx/>
              <a:latin typeface="Corona LT"/>
              <a:ea typeface="+mn-ea"/>
              <a:cs typeface="+mn-cs"/>
            </a:endParaRPr>
          </a:p>
        </p:txBody>
      </p:sp>
      <p:sp>
        <p:nvSpPr>
          <p:cNvPr id="853" name="Forma libre 45">
            <a:extLst>
              <a:ext uri="{FF2B5EF4-FFF2-40B4-BE49-F238E27FC236}">
                <a16:creationId xmlns:a16="http://schemas.microsoft.com/office/drawing/2014/main" id="{8C21FDE4-39F3-4656-80CB-EF542F60FEB9}"/>
              </a:ext>
            </a:extLst>
          </p:cNvPr>
          <p:cNvSpPr>
            <a:spLocks noChangeAspect="1"/>
          </p:cNvSpPr>
          <p:nvPr/>
        </p:nvSpPr>
        <p:spPr>
          <a:xfrm>
            <a:off x="10671400" y="1892222"/>
            <a:ext cx="571817" cy="571742"/>
          </a:xfrm>
          <a:custGeom>
            <a:avLst/>
            <a:gdLst>
              <a:gd name="connsiteX0" fmla="*/ 180975 w 306916"/>
              <a:gd name="connsiteY0" fmla="*/ 52380 h 306876"/>
              <a:gd name="connsiteX1" fmla="*/ 174625 w 306916"/>
              <a:gd name="connsiteY1" fmla="*/ 58730 h 306876"/>
              <a:gd name="connsiteX2" fmla="*/ 174625 w 306916"/>
              <a:gd name="connsiteY2" fmla="*/ 178305 h 306876"/>
              <a:gd name="connsiteX3" fmla="*/ 94721 w 306916"/>
              <a:gd name="connsiteY3" fmla="*/ 257670 h 306876"/>
              <a:gd name="connsiteX4" fmla="*/ 65617 w 306916"/>
              <a:gd name="connsiteY4" fmla="*/ 180951 h 306876"/>
              <a:gd name="connsiteX5" fmla="*/ 59267 w 306916"/>
              <a:gd name="connsiteY5" fmla="*/ 174602 h 306876"/>
              <a:gd name="connsiteX6" fmla="*/ 52917 w 306916"/>
              <a:gd name="connsiteY6" fmla="*/ 180951 h 306876"/>
              <a:gd name="connsiteX7" fmla="*/ 181504 w 306916"/>
              <a:gd name="connsiteY7" fmla="*/ 309522 h 306876"/>
              <a:gd name="connsiteX8" fmla="*/ 310092 w 306916"/>
              <a:gd name="connsiteY8" fmla="*/ 180951 h 306876"/>
              <a:gd name="connsiteX9" fmla="*/ 180975 w 306916"/>
              <a:gd name="connsiteY9" fmla="*/ 52380 h 306876"/>
              <a:gd name="connsiteX10" fmla="*/ 296333 w 306916"/>
              <a:gd name="connsiteY10" fmla="*/ 174602 h 306876"/>
              <a:gd name="connsiteX11" fmla="*/ 187325 w 306916"/>
              <a:gd name="connsiteY11" fmla="*/ 174602 h 306876"/>
              <a:gd name="connsiteX12" fmla="*/ 187325 w 306916"/>
              <a:gd name="connsiteY12" fmla="*/ 65608 h 306876"/>
              <a:gd name="connsiteX13" fmla="*/ 296333 w 306916"/>
              <a:gd name="connsiteY13" fmla="*/ 174602 h 306876"/>
              <a:gd name="connsiteX14" fmla="*/ 180975 w 306916"/>
              <a:gd name="connsiteY14" fmla="*/ 296823 h 306876"/>
              <a:gd name="connsiteX15" fmla="*/ 103717 w 306916"/>
              <a:gd name="connsiteY15" fmla="*/ 266664 h 306876"/>
              <a:gd name="connsiteX16" fmla="*/ 183621 w 306916"/>
              <a:gd name="connsiteY16" fmla="*/ 187300 h 306876"/>
              <a:gd name="connsiteX17" fmla="*/ 296333 w 306916"/>
              <a:gd name="connsiteY17" fmla="*/ 187300 h 306876"/>
              <a:gd name="connsiteX18" fmla="*/ 180975 w 306916"/>
              <a:gd name="connsiteY18" fmla="*/ 296823 h 306876"/>
              <a:gd name="connsiteX19" fmla="*/ 152400 w 306916"/>
              <a:gd name="connsiteY19" fmla="*/ 76189 h 306876"/>
              <a:gd name="connsiteX20" fmla="*/ 76200 w 306916"/>
              <a:gd name="connsiteY20" fmla="*/ 0 h 306876"/>
              <a:gd name="connsiteX21" fmla="*/ 0 w 306916"/>
              <a:gd name="connsiteY21" fmla="*/ 76189 h 306876"/>
              <a:gd name="connsiteX22" fmla="*/ 76200 w 306916"/>
              <a:gd name="connsiteY22" fmla="*/ 152380 h 306876"/>
              <a:gd name="connsiteX23" fmla="*/ 152400 w 306916"/>
              <a:gd name="connsiteY23" fmla="*/ 76189 h 306876"/>
              <a:gd name="connsiteX24" fmla="*/ 13229 w 306916"/>
              <a:gd name="connsiteY24" fmla="*/ 76189 h 306876"/>
              <a:gd name="connsiteX25" fmla="*/ 76729 w 306916"/>
              <a:gd name="connsiteY25" fmla="*/ 12698 h 306876"/>
              <a:gd name="connsiteX26" fmla="*/ 140229 w 306916"/>
              <a:gd name="connsiteY26" fmla="*/ 76189 h 306876"/>
              <a:gd name="connsiteX27" fmla="*/ 76729 w 306916"/>
              <a:gd name="connsiteY27" fmla="*/ 139681 h 306876"/>
              <a:gd name="connsiteX28" fmla="*/ 13229 w 306916"/>
              <a:gd name="connsiteY28" fmla="*/ 76189 h 306876"/>
              <a:gd name="connsiteX29" fmla="*/ 71438 w 306916"/>
              <a:gd name="connsiteY29" fmla="*/ 38624 h 306876"/>
              <a:gd name="connsiteX30" fmla="*/ 71438 w 306916"/>
              <a:gd name="connsiteY30" fmla="*/ 30687 h 306876"/>
              <a:gd name="connsiteX31" fmla="*/ 77787 w 306916"/>
              <a:gd name="connsiteY31" fmla="*/ 24338 h 306876"/>
              <a:gd name="connsiteX32" fmla="*/ 84137 w 306916"/>
              <a:gd name="connsiteY32" fmla="*/ 30687 h 306876"/>
              <a:gd name="connsiteX33" fmla="*/ 84137 w 306916"/>
              <a:gd name="connsiteY33" fmla="*/ 38624 h 306876"/>
              <a:gd name="connsiteX34" fmla="*/ 77787 w 306916"/>
              <a:gd name="connsiteY34" fmla="*/ 44973 h 306876"/>
              <a:gd name="connsiteX35" fmla="*/ 71438 w 306916"/>
              <a:gd name="connsiteY35" fmla="*/ 38624 h 306876"/>
              <a:gd name="connsiteX36" fmla="*/ 77787 w 306916"/>
              <a:gd name="connsiteY36" fmla="*/ 128570 h 306876"/>
              <a:gd name="connsiteX37" fmla="*/ 71438 w 306916"/>
              <a:gd name="connsiteY37" fmla="*/ 122221 h 306876"/>
              <a:gd name="connsiteX38" fmla="*/ 71438 w 306916"/>
              <a:gd name="connsiteY38" fmla="*/ 114814 h 306876"/>
              <a:gd name="connsiteX39" fmla="*/ 77787 w 306916"/>
              <a:gd name="connsiteY39" fmla="*/ 108465 h 306876"/>
              <a:gd name="connsiteX40" fmla="*/ 84137 w 306916"/>
              <a:gd name="connsiteY40" fmla="*/ 114814 h 306876"/>
              <a:gd name="connsiteX41" fmla="*/ 84137 w 306916"/>
              <a:gd name="connsiteY41" fmla="*/ 122221 h 306876"/>
              <a:gd name="connsiteX42" fmla="*/ 77787 w 306916"/>
              <a:gd name="connsiteY42" fmla="*/ 128570 h 306876"/>
              <a:gd name="connsiteX43" fmla="*/ 88371 w 306916"/>
              <a:gd name="connsiteY43" fmla="*/ 103174 h 306876"/>
              <a:gd name="connsiteX44" fmla="*/ 57150 w 306916"/>
              <a:gd name="connsiteY44" fmla="*/ 103174 h 306876"/>
              <a:gd name="connsiteX45" fmla="*/ 50800 w 306916"/>
              <a:gd name="connsiteY45" fmla="*/ 96824 h 306876"/>
              <a:gd name="connsiteX46" fmla="*/ 57150 w 306916"/>
              <a:gd name="connsiteY46" fmla="*/ 90475 h 306876"/>
              <a:gd name="connsiteX47" fmla="*/ 88371 w 306916"/>
              <a:gd name="connsiteY47" fmla="*/ 90475 h 306876"/>
              <a:gd name="connsiteX48" fmla="*/ 92604 w 306916"/>
              <a:gd name="connsiteY48" fmla="*/ 86242 h 306876"/>
              <a:gd name="connsiteX49" fmla="*/ 88371 w 306916"/>
              <a:gd name="connsiteY49" fmla="*/ 82010 h 306876"/>
              <a:gd name="connsiteX50" fmla="*/ 77787 w 306916"/>
              <a:gd name="connsiteY50" fmla="*/ 82010 h 306876"/>
              <a:gd name="connsiteX51" fmla="*/ 77787 w 306916"/>
              <a:gd name="connsiteY51" fmla="*/ 82010 h 306876"/>
              <a:gd name="connsiteX52" fmla="*/ 67733 w 306916"/>
              <a:gd name="connsiteY52" fmla="*/ 82010 h 306876"/>
              <a:gd name="connsiteX53" fmla="*/ 50800 w 306916"/>
              <a:gd name="connsiteY53" fmla="*/ 65079 h 306876"/>
              <a:gd name="connsiteX54" fmla="*/ 67733 w 306916"/>
              <a:gd name="connsiteY54" fmla="*/ 48148 h 306876"/>
              <a:gd name="connsiteX55" fmla="*/ 98954 w 306916"/>
              <a:gd name="connsiteY55" fmla="*/ 48148 h 306876"/>
              <a:gd name="connsiteX56" fmla="*/ 105304 w 306916"/>
              <a:gd name="connsiteY56" fmla="*/ 54497 h 306876"/>
              <a:gd name="connsiteX57" fmla="*/ 98954 w 306916"/>
              <a:gd name="connsiteY57" fmla="*/ 60846 h 306876"/>
              <a:gd name="connsiteX58" fmla="*/ 67733 w 306916"/>
              <a:gd name="connsiteY58" fmla="*/ 60846 h 306876"/>
              <a:gd name="connsiteX59" fmla="*/ 63500 w 306916"/>
              <a:gd name="connsiteY59" fmla="*/ 65079 h 306876"/>
              <a:gd name="connsiteX60" fmla="*/ 67733 w 306916"/>
              <a:gd name="connsiteY60" fmla="*/ 69312 h 306876"/>
              <a:gd name="connsiteX61" fmla="*/ 77787 w 306916"/>
              <a:gd name="connsiteY61" fmla="*/ 69312 h 306876"/>
              <a:gd name="connsiteX62" fmla="*/ 77787 w 306916"/>
              <a:gd name="connsiteY62" fmla="*/ 69312 h 306876"/>
              <a:gd name="connsiteX63" fmla="*/ 88371 w 306916"/>
              <a:gd name="connsiteY63" fmla="*/ 69312 h 306876"/>
              <a:gd name="connsiteX64" fmla="*/ 105304 w 306916"/>
              <a:gd name="connsiteY64" fmla="*/ 86242 h 306876"/>
              <a:gd name="connsiteX65" fmla="*/ 88371 w 306916"/>
              <a:gd name="connsiteY65" fmla="*/ 103174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Lst>
            <a:rect l="l" t="t" r="r" b="b"/>
            <a:pathLst>
              <a:path w="306916" h="306876">
                <a:moveTo>
                  <a:pt x="180975" y="52380"/>
                </a:moveTo>
                <a:cubicBezTo>
                  <a:pt x="177271" y="52380"/>
                  <a:pt x="174625" y="55026"/>
                  <a:pt x="174625" y="58730"/>
                </a:cubicBezTo>
                <a:lnTo>
                  <a:pt x="174625" y="178305"/>
                </a:lnTo>
                <a:lnTo>
                  <a:pt x="94721" y="257670"/>
                </a:lnTo>
                <a:cubicBezTo>
                  <a:pt x="76729" y="237035"/>
                  <a:pt x="65617" y="210580"/>
                  <a:pt x="65617" y="180951"/>
                </a:cubicBezTo>
                <a:cubicBezTo>
                  <a:pt x="65617" y="177247"/>
                  <a:pt x="62971" y="174602"/>
                  <a:pt x="59267" y="174602"/>
                </a:cubicBezTo>
                <a:cubicBezTo>
                  <a:pt x="55563" y="174602"/>
                  <a:pt x="52917" y="177247"/>
                  <a:pt x="52917" y="180951"/>
                </a:cubicBezTo>
                <a:cubicBezTo>
                  <a:pt x="52917" y="251850"/>
                  <a:pt x="110596" y="309522"/>
                  <a:pt x="181504" y="309522"/>
                </a:cubicBezTo>
                <a:cubicBezTo>
                  <a:pt x="252412" y="309522"/>
                  <a:pt x="310092" y="251850"/>
                  <a:pt x="310092" y="180951"/>
                </a:cubicBezTo>
                <a:cubicBezTo>
                  <a:pt x="309563" y="110052"/>
                  <a:pt x="251883" y="52380"/>
                  <a:pt x="180975" y="52380"/>
                </a:cubicBezTo>
                <a:close/>
                <a:moveTo>
                  <a:pt x="296333" y="174602"/>
                </a:moveTo>
                <a:lnTo>
                  <a:pt x="187325" y="174602"/>
                </a:lnTo>
                <a:lnTo>
                  <a:pt x="187325" y="65608"/>
                </a:lnTo>
                <a:cubicBezTo>
                  <a:pt x="246063" y="68783"/>
                  <a:pt x="293158" y="115872"/>
                  <a:pt x="296333" y="174602"/>
                </a:cubicBezTo>
                <a:close/>
                <a:moveTo>
                  <a:pt x="180975" y="296823"/>
                </a:moveTo>
                <a:cubicBezTo>
                  <a:pt x="151342" y="296823"/>
                  <a:pt x="123825" y="285183"/>
                  <a:pt x="103717" y="266664"/>
                </a:cubicBezTo>
                <a:lnTo>
                  <a:pt x="183621" y="187300"/>
                </a:lnTo>
                <a:lnTo>
                  <a:pt x="296333" y="187300"/>
                </a:lnTo>
                <a:cubicBezTo>
                  <a:pt x="293158" y="248146"/>
                  <a:pt x="242887" y="296823"/>
                  <a:pt x="180975" y="296823"/>
                </a:cubicBezTo>
                <a:close/>
                <a:moveTo>
                  <a:pt x="152400" y="76189"/>
                </a:moveTo>
                <a:cubicBezTo>
                  <a:pt x="152400" y="34391"/>
                  <a:pt x="118004" y="0"/>
                  <a:pt x="76200" y="0"/>
                </a:cubicBezTo>
                <a:cubicBezTo>
                  <a:pt x="34396" y="0"/>
                  <a:pt x="0" y="34391"/>
                  <a:pt x="0" y="76189"/>
                </a:cubicBezTo>
                <a:cubicBezTo>
                  <a:pt x="0" y="117988"/>
                  <a:pt x="34396" y="152380"/>
                  <a:pt x="76200" y="152380"/>
                </a:cubicBezTo>
                <a:cubicBezTo>
                  <a:pt x="118533" y="152380"/>
                  <a:pt x="152400" y="118517"/>
                  <a:pt x="152400" y="76189"/>
                </a:cubicBezTo>
                <a:close/>
                <a:moveTo>
                  <a:pt x="13229" y="76189"/>
                </a:moveTo>
                <a:cubicBezTo>
                  <a:pt x="13229" y="41269"/>
                  <a:pt x="41804" y="12698"/>
                  <a:pt x="76729" y="12698"/>
                </a:cubicBezTo>
                <a:cubicBezTo>
                  <a:pt x="111654" y="12698"/>
                  <a:pt x="140229" y="41269"/>
                  <a:pt x="140229" y="76189"/>
                </a:cubicBezTo>
                <a:cubicBezTo>
                  <a:pt x="140229" y="111110"/>
                  <a:pt x="111654" y="139681"/>
                  <a:pt x="76729" y="139681"/>
                </a:cubicBezTo>
                <a:cubicBezTo>
                  <a:pt x="41275" y="139681"/>
                  <a:pt x="13229" y="111110"/>
                  <a:pt x="13229" y="76189"/>
                </a:cubicBezTo>
                <a:close/>
                <a:moveTo>
                  <a:pt x="71438" y="38624"/>
                </a:moveTo>
                <a:lnTo>
                  <a:pt x="71438" y="30687"/>
                </a:lnTo>
                <a:cubicBezTo>
                  <a:pt x="71438" y="26984"/>
                  <a:pt x="74083" y="24338"/>
                  <a:pt x="77787" y="24338"/>
                </a:cubicBezTo>
                <a:cubicBezTo>
                  <a:pt x="81492" y="24338"/>
                  <a:pt x="84137" y="26984"/>
                  <a:pt x="84137" y="30687"/>
                </a:cubicBezTo>
                <a:lnTo>
                  <a:pt x="84137" y="38624"/>
                </a:lnTo>
                <a:cubicBezTo>
                  <a:pt x="84137" y="42328"/>
                  <a:pt x="81492" y="44973"/>
                  <a:pt x="77787" y="44973"/>
                </a:cubicBezTo>
                <a:cubicBezTo>
                  <a:pt x="74083" y="44973"/>
                  <a:pt x="71438" y="41798"/>
                  <a:pt x="71438" y="38624"/>
                </a:cubicBezTo>
                <a:close/>
                <a:moveTo>
                  <a:pt x="77787" y="128570"/>
                </a:moveTo>
                <a:cubicBezTo>
                  <a:pt x="74083" y="128570"/>
                  <a:pt x="71438" y="125925"/>
                  <a:pt x="71438" y="122221"/>
                </a:cubicBezTo>
                <a:lnTo>
                  <a:pt x="71438" y="114814"/>
                </a:lnTo>
                <a:cubicBezTo>
                  <a:pt x="71438" y="111110"/>
                  <a:pt x="74083" y="108465"/>
                  <a:pt x="77787" y="108465"/>
                </a:cubicBezTo>
                <a:cubicBezTo>
                  <a:pt x="81492" y="108465"/>
                  <a:pt x="84137" y="111110"/>
                  <a:pt x="84137" y="114814"/>
                </a:cubicBezTo>
                <a:lnTo>
                  <a:pt x="84137" y="122221"/>
                </a:lnTo>
                <a:cubicBezTo>
                  <a:pt x="84137" y="125925"/>
                  <a:pt x="80962" y="128570"/>
                  <a:pt x="77787" y="128570"/>
                </a:cubicBezTo>
                <a:close/>
                <a:moveTo>
                  <a:pt x="88371" y="103174"/>
                </a:moveTo>
                <a:lnTo>
                  <a:pt x="57150" y="103174"/>
                </a:lnTo>
                <a:cubicBezTo>
                  <a:pt x="53446" y="103174"/>
                  <a:pt x="50800" y="100528"/>
                  <a:pt x="50800" y="96824"/>
                </a:cubicBezTo>
                <a:cubicBezTo>
                  <a:pt x="50800" y="93121"/>
                  <a:pt x="53446" y="90475"/>
                  <a:pt x="57150" y="90475"/>
                </a:cubicBezTo>
                <a:lnTo>
                  <a:pt x="88371" y="90475"/>
                </a:lnTo>
                <a:cubicBezTo>
                  <a:pt x="90487" y="90475"/>
                  <a:pt x="92604" y="88888"/>
                  <a:pt x="92604" y="86242"/>
                </a:cubicBezTo>
                <a:cubicBezTo>
                  <a:pt x="92604" y="83597"/>
                  <a:pt x="91017" y="82010"/>
                  <a:pt x="88371" y="82010"/>
                </a:cubicBezTo>
                <a:lnTo>
                  <a:pt x="77787" y="82010"/>
                </a:lnTo>
                <a:lnTo>
                  <a:pt x="77787" y="82010"/>
                </a:lnTo>
                <a:lnTo>
                  <a:pt x="67733" y="82010"/>
                </a:lnTo>
                <a:cubicBezTo>
                  <a:pt x="58737" y="82010"/>
                  <a:pt x="50800" y="74603"/>
                  <a:pt x="50800" y="65079"/>
                </a:cubicBezTo>
                <a:cubicBezTo>
                  <a:pt x="50800" y="56084"/>
                  <a:pt x="58208" y="48148"/>
                  <a:pt x="67733" y="48148"/>
                </a:cubicBezTo>
                <a:lnTo>
                  <a:pt x="98954" y="48148"/>
                </a:lnTo>
                <a:cubicBezTo>
                  <a:pt x="102658" y="48148"/>
                  <a:pt x="105304" y="50793"/>
                  <a:pt x="105304" y="54497"/>
                </a:cubicBezTo>
                <a:cubicBezTo>
                  <a:pt x="105304" y="58201"/>
                  <a:pt x="102658" y="60846"/>
                  <a:pt x="98954" y="60846"/>
                </a:cubicBezTo>
                <a:lnTo>
                  <a:pt x="67733" y="60846"/>
                </a:lnTo>
                <a:cubicBezTo>
                  <a:pt x="65617" y="60846"/>
                  <a:pt x="63500" y="62433"/>
                  <a:pt x="63500" y="65079"/>
                </a:cubicBezTo>
                <a:cubicBezTo>
                  <a:pt x="63500" y="67724"/>
                  <a:pt x="65087" y="69312"/>
                  <a:pt x="67733" y="69312"/>
                </a:cubicBezTo>
                <a:lnTo>
                  <a:pt x="77787" y="69312"/>
                </a:lnTo>
                <a:lnTo>
                  <a:pt x="77787" y="69312"/>
                </a:lnTo>
                <a:lnTo>
                  <a:pt x="88371" y="69312"/>
                </a:lnTo>
                <a:cubicBezTo>
                  <a:pt x="97367" y="69312"/>
                  <a:pt x="105304" y="76719"/>
                  <a:pt x="105304" y="86242"/>
                </a:cubicBezTo>
                <a:cubicBezTo>
                  <a:pt x="105304" y="95766"/>
                  <a:pt x="97896" y="103174"/>
                  <a:pt x="88371" y="103174"/>
                </a:cubicBezTo>
                <a:close/>
              </a:path>
            </a:pathLst>
          </a:custGeom>
          <a:solidFill>
            <a:srgbClr val="28828B"/>
          </a:solid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nvGrpSpPr>
          <p:cNvPr id="858" name="Grupo 13">
            <a:extLst>
              <a:ext uri="{FF2B5EF4-FFF2-40B4-BE49-F238E27FC236}">
                <a16:creationId xmlns:a16="http://schemas.microsoft.com/office/drawing/2014/main" id="{26A4E808-8643-496D-98C7-213F5A66B3B2}"/>
              </a:ext>
            </a:extLst>
          </p:cNvPr>
          <p:cNvGrpSpPr>
            <a:grpSpLocks noChangeAspect="1"/>
          </p:cNvGrpSpPr>
          <p:nvPr/>
        </p:nvGrpSpPr>
        <p:grpSpPr>
          <a:xfrm>
            <a:off x="4591152" y="4116708"/>
            <a:ext cx="518034" cy="482611"/>
            <a:chOff x="9037935" y="730453"/>
            <a:chExt cx="573635" cy="534409"/>
          </a:xfrm>
          <a:solidFill>
            <a:srgbClr val="28828B"/>
          </a:solidFill>
        </p:grpSpPr>
        <p:sp>
          <p:nvSpPr>
            <p:cNvPr id="859" name="Forma libre 366">
              <a:extLst>
                <a:ext uri="{FF2B5EF4-FFF2-40B4-BE49-F238E27FC236}">
                  <a16:creationId xmlns:a16="http://schemas.microsoft.com/office/drawing/2014/main" id="{B3CD7A0A-D94A-44C2-844F-A876328400EE}"/>
                </a:ext>
              </a:extLst>
            </p:cNvPr>
            <p:cNvSpPr/>
            <p:nvPr/>
          </p:nvSpPr>
          <p:spPr>
            <a:xfrm>
              <a:off x="9037935" y="1066222"/>
              <a:ext cx="135657" cy="193795"/>
            </a:xfrm>
            <a:custGeom>
              <a:avLst/>
              <a:gdLst>
                <a:gd name="connsiteX0" fmla="*/ 70373 w 74076"/>
                <a:gd name="connsiteY0" fmla="*/ 0 h 105823"/>
                <a:gd name="connsiteX1" fmla="*/ 6349 w 74076"/>
                <a:gd name="connsiteY1" fmla="*/ 0 h 105823"/>
                <a:gd name="connsiteX2" fmla="*/ 0 w 74076"/>
                <a:gd name="connsiteY2" fmla="*/ 6350 h 105823"/>
                <a:gd name="connsiteX3" fmla="*/ 0 w 74076"/>
                <a:gd name="connsiteY3" fmla="*/ 104237 h 105823"/>
                <a:gd name="connsiteX4" fmla="*/ 6349 w 74076"/>
                <a:gd name="connsiteY4" fmla="*/ 110586 h 105823"/>
                <a:gd name="connsiteX5" fmla="*/ 70373 w 74076"/>
                <a:gd name="connsiteY5" fmla="*/ 110586 h 105823"/>
                <a:gd name="connsiteX6" fmla="*/ 76722 w 74076"/>
                <a:gd name="connsiteY6" fmla="*/ 104237 h 105823"/>
                <a:gd name="connsiteX7" fmla="*/ 76722 w 74076"/>
                <a:gd name="connsiteY7" fmla="*/ 6350 h 105823"/>
                <a:gd name="connsiteX8" fmla="*/ 70373 w 74076"/>
                <a:gd name="connsiteY8" fmla="*/ 0 h 105823"/>
                <a:gd name="connsiteX9" fmla="*/ 63494 w 74076"/>
                <a:gd name="connsiteY9" fmla="*/ 97887 h 105823"/>
                <a:gd name="connsiteX10" fmla="*/ 12170 w 74076"/>
                <a:gd name="connsiteY10" fmla="*/ 97887 h 105823"/>
                <a:gd name="connsiteX11" fmla="*/ 12170 w 74076"/>
                <a:gd name="connsiteY11" fmla="*/ 12699 h 105823"/>
                <a:gd name="connsiteX12" fmla="*/ 63494 w 74076"/>
                <a:gd name="connsiteY12" fmla="*/ 12699 h 105823"/>
                <a:gd name="connsiteX13" fmla="*/ 63494 w 74076"/>
                <a:gd name="connsiteY13" fmla="*/ 97887 h 10582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05823">
                  <a:moveTo>
                    <a:pt x="70373" y="0"/>
                  </a:moveTo>
                  <a:lnTo>
                    <a:pt x="6349" y="0"/>
                  </a:lnTo>
                  <a:cubicBezTo>
                    <a:pt x="2646" y="0"/>
                    <a:pt x="0" y="2646"/>
                    <a:pt x="0" y="6350"/>
                  </a:cubicBezTo>
                  <a:lnTo>
                    <a:pt x="0" y="104237"/>
                  </a:lnTo>
                  <a:cubicBezTo>
                    <a:pt x="0" y="107940"/>
                    <a:pt x="2646" y="110586"/>
                    <a:pt x="6349" y="110586"/>
                  </a:cubicBezTo>
                  <a:lnTo>
                    <a:pt x="70373" y="110586"/>
                  </a:lnTo>
                  <a:cubicBezTo>
                    <a:pt x="74077" y="110586"/>
                    <a:pt x="76722" y="107940"/>
                    <a:pt x="76722" y="104237"/>
                  </a:cubicBezTo>
                  <a:lnTo>
                    <a:pt x="76722" y="6350"/>
                  </a:lnTo>
                  <a:cubicBezTo>
                    <a:pt x="76722" y="2646"/>
                    <a:pt x="73548" y="0"/>
                    <a:pt x="70373" y="0"/>
                  </a:cubicBezTo>
                  <a:close/>
                  <a:moveTo>
                    <a:pt x="63494" y="97887"/>
                  </a:moveTo>
                  <a:lnTo>
                    <a:pt x="12170" y="97887"/>
                  </a:lnTo>
                  <a:lnTo>
                    <a:pt x="12170" y="12699"/>
                  </a:lnTo>
                  <a:lnTo>
                    <a:pt x="63494" y="12699"/>
                  </a:lnTo>
                  <a:lnTo>
                    <a:pt x="63494" y="97887"/>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0" name="Forma libre 367">
              <a:extLst>
                <a:ext uri="{FF2B5EF4-FFF2-40B4-BE49-F238E27FC236}">
                  <a16:creationId xmlns:a16="http://schemas.microsoft.com/office/drawing/2014/main" id="{F6407A50-289F-47AA-B496-2AC19A0ADF5E}"/>
                </a:ext>
              </a:extLst>
            </p:cNvPr>
            <p:cNvSpPr/>
            <p:nvPr/>
          </p:nvSpPr>
          <p:spPr>
            <a:xfrm>
              <a:off x="9256924" y="969324"/>
              <a:ext cx="135657" cy="290693"/>
            </a:xfrm>
            <a:custGeom>
              <a:avLst/>
              <a:gdLst>
                <a:gd name="connsiteX0" fmla="*/ 70372 w 74076"/>
                <a:gd name="connsiteY0" fmla="*/ 0 h 158735"/>
                <a:gd name="connsiteX1" fmla="*/ 6349 w 74076"/>
                <a:gd name="connsiteY1" fmla="*/ 0 h 158735"/>
                <a:gd name="connsiteX2" fmla="*/ 0 w 74076"/>
                <a:gd name="connsiteY2" fmla="*/ 6350 h 158735"/>
                <a:gd name="connsiteX3" fmla="*/ 0 w 74076"/>
                <a:gd name="connsiteY3" fmla="*/ 157149 h 158735"/>
                <a:gd name="connsiteX4" fmla="*/ 6349 w 74076"/>
                <a:gd name="connsiteY4" fmla="*/ 163498 h 158735"/>
                <a:gd name="connsiteX5" fmla="*/ 70372 w 74076"/>
                <a:gd name="connsiteY5" fmla="*/ 163498 h 158735"/>
                <a:gd name="connsiteX6" fmla="*/ 76722 w 74076"/>
                <a:gd name="connsiteY6" fmla="*/ 157149 h 158735"/>
                <a:gd name="connsiteX7" fmla="*/ 76722 w 74076"/>
                <a:gd name="connsiteY7" fmla="*/ 6350 h 158735"/>
                <a:gd name="connsiteX8" fmla="*/ 70372 w 74076"/>
                <a:gd name="connsiteY8" fmla="*/ 0 h 158735"/>
                <a:gd name="connsiteX9" fmla="*/ 64023 w 74076"/>
                <a:gd name="connsiteY9" fmla="*/ 150799 h 158735"/>
                <a:gd name="connsiteX10" fmla="*/ 12699 w 74076"/>
                <a:gd name="connsiteY10" fmla="*/ 150799 h 158735"/>
                <a:gd name="connsiteX11" fmla="*/ 12699 w 74076"/>
                <a:gd name="connsiteY11" fmla="*/ 13228 h 158735"/>
                <a:gd name="connsiteX12" fmla="*/ 64023 w 74076"/>
                <a:gd name="connsiteY12" fmla="*/ 13228 h 158735"/>
                <a:gd name="connsiteX13" fmla="*/ 64023 w 74076"/>
                <a:gd name="connsiteY13" fmla="*/ 150799 h 1587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158735">
                  <a:moveTo>
                    <a:pt x="70372" y="0"/>
                  </a:moveTo>
                  <a:lnTo>
                    <a:pt x="6349" y="0"/>
                  </a:lnTo>
                  <a:cubicBezTo>
                    <a:pt x="2646" y="0"/>
                    <a:pt x="0" y="2646"/>
                    <a:pt x="0" y="6350"/>
                  </a:cubicBezTo>
                  <a:lnTo>
                    <a:pt x="0" y="157149"/>
                  </a:lnTo>
                  <a:cubicBezTo>
                    <a:pt x="0" y="160852"/>
                    <a:pt x="2646" y="163498"/>
                    <a:pt x="6349" y="163498"/>
                  </a:cubicBezTo>
                  <a:lnTo>
                    <a:pt x="70372" y="163498"/>
                  </a:lnTo>
                  <a:cubicBezTo>
                    <a:pt x="74077" y="163498"/>
                    <a:pt x="76722" y="160852"/>
                    <a:pt x="76722" y="157149"/>
                  </a:cubicBezTo>
                  <a:lnTo>
                    <a:pt x="76722" y="6350"/>
                  </a:lnTo>
                  <a:cubicBezTo>
                    <a:pt x="76722" y="3175"/>
                    <a:pt x="74077" y="0"/>
                    <a:pt x="70372" y="0"/>
                  </a:cubicBezTo>
                  <a:close/>
                  <a:moveTo>
                    <a:pt x="64023" y="150799"/>
                  </a:moveTo>
                  <a:lnTo>
                    <a:pt x="12699" y="150799"/>
                  </a:lnTo>
                  <a:lnTo>
                    <a:pt x="12699" y="13228"/>
                  </a:lnTo>
                  <a:lnTo>
                    <a:pt x="64023" y="13228"/>
                  </a:lnTo>
                  <a:lnTo>
                    <a:pt x="64023" y="150799"/>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1" name="Forma libre 368">
              <a:extLst>
                <a:ext uri="{FF2B5EF4-FFF2-40B4-BE49-F238E27FC236}">
                  <a16:creationId xmlns:a16="http://schemas.microsoft.com/office/drawing/2014/main" id="{8B2E2032-B971-4B81-BB32-8D24E33DF0AD}"/>
                </a:ext>
              </a:extLst>
            </p:cNvPr>
            <p:cNvSpPr/>
            <p:nvPr/>
          </p:nvSpPr>
          <p:spPr>
            <a:xfrm>
              <a:off x="9475913" y="886962"/>
              <a:ext cx="135657" cy="377900"/>
            </a:xfrm>
            <a:custGeom>
              <a:avLst/>
              <a:gdLst>
                <a:gd name="connsiteX0" fmla="*/ 70373 w 74076"/>
                <a:gd name="connsiteY0" fmla="*/ 0 h 206356"/>
                <a:gd name="connsiteX1" fmla="*/ 6349 w 74076"/>
                <a:gd name="connsiteY1" fmla="*/ 0 h 206356"/>
                <a:gd name="connsiteX2" fmla="*/ 0 w 74076"/>
                <a:gd name="connsiteY2" fmla="*/ 6350 h 206356"/>
                <a:gd name="connsiteX3" fmla="*/ 0 w 74076"/>
                <a:gd name="connsiteY3" fmla="*/ 202124 h 206356"/>
                <a:gd name="connsiteX4" fmla="*/ 6349 w 74076"/>
                <a:gd name="connsiteY4" fmla="*/ 208473 h 206356"/>
                <a:gd name="connsiteX5" fmla="*/ 70373 w 74076"/>
                <a:gd name="connsiteY5" fmla="*/ 208473 h 206356"/>
                <a:gd name="connsiteX6" fmla="*/ 76722 w 74076"/>
                <a:gd name="connsiteY6" fmla="*/ 202124 h 206356"/>
                <a:gd name="connsiteX7" fmla="*/ 76722 w 74076"/>
                <a:gd name="connsiteY7" fmla="*/ 6350 h 206356"/>
                <a:gd name="connsiteX8" fmla="*/ 70373 w 74076"/>
                <a:gd name="connsiteY8" fmla="*/ 0 h 206356"/>
                <a:gd name="connsiteX9" fmla="*/ 64023 w 74076"/>
                <a:gd name="connsiteY9" fmla="*/ 195774 h 206356"/>
                <a:gd name="connsiteX10" fmla="*/ 12699 w 74076"/>
                <a:gd name="connsiteY10" fmla="*/ 195774 h 206356"/>
                <a:gd name="connsiteX11" fmla="*/ 12699 w 74076"/>
                <a:gd name="connsiteY11" fmla="*/ 12699 h 206356"/>
                <a:gd name="connsiteX12" fmla="*/ 64023 w 74076"/>
                <a:gd name="connsiteY12" fmla="*/ 12699 h 206356"/>
                <a:gd name="connsiteX13" fmla="*/ 64023 w 74076"/>
                <a:gd name="connsiteY13" fmla="*/ 195774 h 2063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74076" h="206356">
                  <a:moveTo>
                    <a:pt x="70373" y="0"/>
                  </a:moveTo>
                  <a:lnTo>
                    <a:pt x="6349" y="0"/>
                  </a:lnTo>
                  <a:cubicBezTo>
                    <a:pt x="2646" y="0"/>
                    <a:pt x="0" y="2646"/>
                    <a:pt x="0" y="6350"/>
                  </a:cubicBezTo>
                  <a:lnTo>
                    <a:pt x="0" y="202124"/>
                  </a:lnTo>
                  <a:cubicBezTo>
                    <a:pt x="0" y="205827"/>
                    <a:pt x="2646" y="208473"/>
                    <a:pt x="6349" y="208473"/>
                  </a:cubicBezTo>
                  <a:lnTo>
                    <a:pt x="70373" y="208473"/>
                  </a:lnTo>
                  <a:cubicBezTo>
                    <a:pt x="74077" y="208473"/>
                    <a:pt x="76722" y="205827"/>
                    <a:pt x="76722" y="202124"/>
                  </a:cubicBezTo>
                  <a:lnTo>
                    <a:pt x="76722" y="6350"/>
                  </a:lnTo>
                  <a:cubicBezTo>
                    <a:pt x="76722" y="2646"/>
                    <a:pt x="74077" y="0"/>
                    <a:pt x="70373" y="0"/>
                  </a:cubicBezTo>
                  <a:close/>
                  <a:moveTo>
                    <a:pt x="64023" y="195774"/>
                  </a:moveTo>
                  <a:lnTo>
                    <a:pt x="12699" y="195774"/>
                  </a:lnTo>
                  <a:lnTo>
                    <a:pt x="12699" y="12699"/>
                  </a:lnTo>
                  <a:lnTo>
                    <a:pt x="64023" y="12699"/>
                  </a:lnTo>
                  <a:lnTo>
                    <a:pt x="64023" y="195774"/>
                  </a:ln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62" name="Forma libre 369">
              <a:extLst>
                <a:ext uri="{FF2B5EF4-FFF2-40B4-BE49-F238E27FC236}">
                  <a16:creationId xmlns:a16="http://schemas.microsoft.com/office/drawing/2014/main" id="{4175CBD5-2766-4CCD-A858-A1ECBE88CF7E}"/>
                </a:ext>
              </a:extLst>
            </p:cNvPr>
            <p:cNvSpPr/>
            <p:nvPr/>
          </p:nvSpPr>
          <p:spPr>
            <a:xfrm>
              <a:off x="9093770" y="730453"/>
              <a:ext cx="513557" cy="281004"/>
            </a:xfrm>
            <a:custGeom>
              <a:avLst/>
              <a:gdLst>
                <a:gd name="connsiteX0" fmla="*/ 6020 w 280433"/>
                <a:gd name="connsiteY0" fmla="*/ 158482 h 153444"/>
                <a:gd name="connsiteX1" fmla="*/ 8666 w 280433"/>
                <a:gd name="connsiteY1" fmla="*/ 157953 h 153444"/>
                <a:gd name="connsiteX2" fmla="*/ 266347 w 280433"/>
                <a:gd name="connsiteY2" fmla="*/ 28848 h 153444"/>
                <a:gd name="connsiteX3" fmla="*/ 262114 w 280433"/>
                <a:gd name="connsiteY3" fmla="*/ 43134 h 153444"/>
                <a:gd name="connsiteX4" fmla="*/ 266347 w 280433"/>
                <a:gd name="connsiteY4" fmla="*/ 51071 h 153444"/>
                <a:gd name="connsiteX5" fmla="*/ 268464 w 280433"/>
                <a:gd name="connsiteY5" fmla="*/ 51599 h 153444"/>
                <a:gd name="connsiteX6" fmla="*/ 274813 w 280433"/>
                <a:gd name="connsiteY6" fmla="*/ 46838 h 153444"/>
                <a:gd name="connsiteX7" fmla="*/ 283808 w 280433"/>
                <a:gd name="connsiteY7" fmla="*/ 18265 h 153444"/>
                <a:gd name="connsiteX8" fmla="*/ 283808 w 280433"/>
                <a:gd name="connsiteY8" fmla="*/ 17207 h 153444"/>
                <a:gd name="connsiteX9" fmla="*/ 283808 w 280433"/>
                <a:gd name="connsiteY9" fmla="*/ 15620 h 153444"/>
                <a:gd name="connsiteX10" fmla="*/ 283279 w 280433"/>
                <a:gd name="connsiteY10" fmla="*/ 14032 h 153444"/>
                <a:gd name="connsiteX11" fmla="*/ 283279 w 280433"/>
                <a:gd name="connsiteY11" fmla="*/ 12974 h 153444"/>
                <a:gd name="connsiteX12" fmla="*/ 283279 w 280433"/>
                <a:gd name="connsiteY12" fmla="*/ 12974 h 153444"/>
                <a:gd name="connsiteX13" fmla="*/ 282221 w 280433"/>
                <a:gd name="connsiteY13" fmla="*/ 11387 h 153444"/>
                <a:gd name="connsiteX14" fmla="*/ 281692 w 280433"/>
                <a:gd name="connsiteY14" fmla="*/ 10858 h 153444"/>
                <a:gd name="connsiteX15" fmla="*/ 281162 w 280433"/>
                <a:gd name="connsiteY15" fmla="*/ 10329 h 153444"/>
                <a:gd name="connsiteX16" fmla="*/ 279575 w 280433"/>
                <a:gd name="connsiteY16" fmla="*/ 9270 h 153444"/>
                <a:gd name="connsiteX17" fmla="*/ 279575 w 280433"/>
                <a:gd name="connsiteY17" fmla="*/ 9270 h 153444"/>
                <a:gd name="connsiteX18" fmla="*/ 251003 w 280433"/>
                <a:gd name="connsiteY18" fmla="*/ 275 h 153444"/>
                <a:gd name="connsiteX19" fmla="*/ 243066 w 280433"/>
                <a:gd name="connsiteY19" fmla="*/ 4508 h 153444"/>
                <a:gd name="connsiteX20" fmla="*/ 247299 w 280433"/>
                <a:gd name="connsiteY20" fmla="*/ 12445 h 153444"/>
                <a:gd name="connsiteX21" fmla="*/ 260527 w 280433"/>
                <a:gd name="connsiteY21" fmla="*/ 16678 h 153444"/>
                <a:gd name="connsiteX22" fmla="*/ 3375 w 280433"/>
                <a:gd name="connsiteY22" fmla="*/ 145254 h 153444"/>
                <a:gd name="connsiteX23" fmla="*/ 729 w 280433"/>
                <a:gd name="connsiteY23" fmla="*/ 153720 h 153444"/>
                <a:gd name="connsiteX24" fmla="*/ 6020 w 280433"/>
                <a:gd name="connsiteY24" fmla="*/ 158482 h 153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80433" h="153444">
                  <a:moveTo>
                    <a:pt x="6020" y="158482"/>
                  </a:moveTo>
                  <a:cubicBezTo>
                    <a:pt x="7079" y="158482"/>
                    <a:pt x="8137" y="158482"/>
                    <a:pt x="8666" y="157953"/>
                  </a:cubicBezTo>
                  <a:lnTo>
                    <a:pt x="266347" y="28848"/>
                  </a:lnTo>
                  <a:lnTo>
                    <a:pt x="262114" y="43134"/>
                  </a:lnTo>
                  <a:cubicBezTo>
                    <a:pt x="261056" y="46308"/>
                    <a:pt x="263173" y="50013"/>
                    <a:pt x="266347" y="51071"/>
                  </a:cubicBezTo>
                  <a:cubicBezTo>
                    <a:pt x="266876" y="51071"/>
                    <a:pt x="267405" y="51599"/>
                    <a:pt x="268464" y="51599"/>
                  </a:cubicBezTo>
                  <a:cubicBezTo>
                    <a:pt x="271109" y="51599"/>
                    <a:pt x="273755" y="50013"/>
                    <a:pt x="274813" y="46838"/>
                  </a:cubicBezTo>
                  <a:lnTo>
                    <a:pt x="283808" y="18265"/>
                  </a:lnTo>
                  <a:cubicBezTo>
                    <a:pt x="283808" y="17736"/>
                    <a:pt x="283808" y="17736"/>
                    <a:pt x="283808" y="17207"/>
                  </a:cubicBezTo>
                  <a:cubicBezTo>
                    <a:pt x="283808" y="16678"/>
                    <a:pt x="283808" y="16149"/>
                    <a:pt x="283808" y="15620"/>
                  </a:cubicBezTo>
                  <a:cubicBezTo>
                    <a:pt x="283808" y="15091"/>
                    <a:pt x="283808" y="14561"/>
                    <a:pt x="283279" y="14032"/>
                  </a:cubicBezTo>
                  <a:cubicBezTo>
                    <a:pt x="283279" y="13503"/>
                    <a:pt x="283279" y="13503"/>
                    <a:pt x="283279" y="12974"/>
                  </a:cubicBezTo>
                  <a:cubicBezTo>
                    <a:pt x="283279" y="12974"/>
                    <a:pt x="283279" y="12974"/>
                    <a:pt x="283279" y="12974"/>
                  </a:cubicBezTo>
                  <a:cubicBezTo>
                    <a:pt x="282750" y="12445"/>
                    <a:pt x="282750" y="11916"/>
                    <a:pt x="282221" y="11387"/>
                  </a:cubicBezTo>
                  <a:cubicBezTo>
                    <a:pt x="282221" y="11387"/>
                    <a:pt x="282221" y="10858"/>
                    <a:pt x="281692" y="10858"/>
                  </a:cubicBezTo>
                  <a:cubicBezTo>
                    <a:pt x="281692" y="10858"/>
                    <a:pt x="281162" y="10858"/>
                    <a:pt x="281162" y="10329"/>
                  </a:cubicBezTo>
                  <a:cubicBezTo>
                    <a:pt x="280633" y="9800"/>
                    <a:pt x="280104" y="9800"/>
                    <a:pt x="279575" y="9270"/>
                  </a:cubicBezTo>
                  <a:cubicBezTo>
                    <a:pt x="279575" y="9270"/>
                    <a:pt x="279575" y="9270"/>
                    <a:pt x="279575" y="9270"/>
                  </a:cubicBezTo>
                  <a:lnTo>
                    <a:pt x="251003" y="275"/>
                  </a:lnTo>
                  <a:cubicBezTo>
                    <a:pt x="247828" y="-783"/>
                    <a:pt x="244124" y="1333"/>
                    <a:pt x="243066" y="4508"/>
                  </a:cubicBezTo>
                  <a:cubicBezTo>
                    <a:pt x="242008" y="7683"/>
                    <a:pt x="244124" y="11387"/>
                    <a:pt x="247299" y="12445"/>
                  </a:cubicBezTo>
                  <a:lnTo>
                    <a:pt x="260527" y="16678"/>
                  </a:lnTo>
                  <a:lnTo>
                    <a:pt x="3375" y="145254"/>
                  </a:lnTo>
                  <a:cubicBezTo>
                    <a:pt x="200" y="146841"/>
                    <a:pt x="-858" y="150545"/>
                    <a:pt x="729" y="153720"/>
                  </a:cubicBezTo>
                  <a:cubicBezTo>
                    <a:pt x="1258" y="157423"/>
                    <a:pt x="3375" y="158482"/>
                    <a:pt x="6020" y="158482"/>
                  </a:cubicBezTo>
                  <a:close/>
                </a:path>
              </a:pathLst>
            </a:custGeom>
            <a:grp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grpSp>
      <p:sp>
        <p:nvSpPr>
          <p:cNvPr id="870" name="Inhaltsplatzhalter 5">
            <a:extLst>
              <a:ext uri="{FF2B5EF4-FFF2-40B4-BE49-F238E27FC236}">
                <a16:creationId xmlns:a16="http://schemas.microsoft.com/office/drawing/2014/main" id="{B3CD68AE-3C17-4A2F-91F7-8AE188D841CF}"/>
              </a:ext>
            </a:extLst>
          </p:cNvPr>
          <p:cNvSpPr txBox="1">
            <a:spLocks/>
          </p:cNvSpPr>
          <p:nvPr/>
        </p:nvSpPr>
        <p:spPr>
          <a:xfrm>
            <a:off x="2604885" y="4035990"/>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Marktpreisorder </a:t>
            </a:r>
            <a:b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Limit»</a:t>
            </a:r>
            <a:endParaRPr kumimoji="0" lang="de-CH" sz="1600" b="1"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C8C8F"/>
                </a:solidFill>
                <a:effectLst/>
                <a:uLnTx/>
                <a:uFillTx/>
                <a:latin typeface="HelveticaNeueLT Com 55 Roman"/>
                <a:ea typeface="MS PGothic" panose="020B0600070205080204" pitchFamily="34" charset="-128"/>
                <a:cs typeface="Segoe UI" panose="020B0502040204020203" pitchFamily="34" charset="0"/>
              </a:rPr>
              <a:t>Währungspaar auswähl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Betrag erfass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Zielkurs definieren</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Gültigkeit festlegen</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Ausführung bei Zielkurs</a:t>
            </a:r>
          </a:p>
        </p:txBody>
      </p:sp>
      <p:sp>
        <p:nvSpPr>
          <p:cNvPr id="871" name="Forma libre 80">
            <a:extLst>
              <a:ext uri="{FF2B5EF4-FFF2-40B4-BE49-F238E27FC236}">
                <a16:creationId xmlns:a16="http://schemas.microsoft.com/office/drawing/2014/main" id="{D4A5DEBD-2758-4C21-B67C-84D79CD23F40}"/>
              </a:ext>
            </a:extLst>
          </p:cNvPr>
          <p:cNvSpPr>
            <a:spLocks noChangeAspect="1"/>
          </p:cNvSpPr>
          <p:nvPr/>
        </p:nvSpPr>
        <p:spPr>
          <a:xfrm>
            <a:off x="7933413" y="4099547"/>
            <a:ext cx="302237" cy="584251"/>
          </a:xfrm>
          <a:custGeom>
            <a:avLst/>
            <a:gdLst>
              <a:gd name="connsiteX0" fmla="*/ 81492 w 158750"/>
              <a:gd name="connsiteY0" fmla="*/ 168252 h 306876"/>
              <a:gd name="connsiteX1" fmla="*/ 87842 w 158750"/>
              <a:gd name="connsiteY1" fmla="*/ 174602 h 306876"/>
              <a:gd name="connsiteX2" fmla="*/ 87842 w 158750"/>
              <a:gd name="connsiteY2" fmla="*/ 180951 h 306876"/>
              <a:gd name="connsiteX3" fmla="*/ 81492 w 158750"/>
              <a:gd name="connsiteY3" fmla="*/ 187300 h 306876"/>
              <a:gd name="connsiteX4" fmla="*/ 75142 w 158750"/>
              <a:gd name="connsiteY4" fmla="*/ 180951 h 306876"/>
              <a:gd name="connsiteX5" fmla="*/ 75142 w 158750"/>
              <a:gd name="connsiteY5" fmla="*/ 174602 h 306876"/>
              <a:gd name="connsiteX6" fmla="*/ 81492 w 158750"/>
              <a:gd name="connsiteY6" fmla="*/ 168252 h 306876"/>
              <a:gd name="connsiteX7" fmla="*/ 81492 w 158750"/>
              <a:gd name="connsiteY7" fmla="*/ 237035 h 306876"/>
              <a:gd name="connsiteX8" fmla="*/ 75142 w 158750"/>
              <a:gd name="connsiteY8" fmla="*/ 243385 h 306876"/>
              <a:gd name="connsiteX9" fmla="*/ 75142 w 158750"/>
              <a:gd name="connsiteY9" fmla="*/ 249205 h 306876"/>
              <a:gd name="connsiteX10" fmla="*/ 81492 w 158750"/>
              <a:gd name="connsiteY10" fmla="*/ 255553 h 306876"/>
              <a:gd name="connsiteX11" fmla="*/ 87842 w 158750"/>
              <a:gd name="connsiteY11" fmla="*/ 249205 h 306876"/>
              <a:gd name="connsiteX12" fmla="*/ 87842 w 158750"/>
              <a:gd name="connsiteY12" fmla="*/ 243385 h 306876"/>
              <a:gd name="connsiteX13" fmla="*/ 81492 w 158750"/>
              <a:gd name="connsiteY13" fmla="*/ 237035 h 306876"/>
              <a:gd name="connsiteX14" fmla="*/ 58208 w 158750"/>
              <a:gd name="connsiteY14" fmla="*/ 203702 h 306876"/>
              <a:gd name="connsiteX15" fmla="*/ 73025 w 158750"/>
              <a:gd name="connsiteY15" fmla="*/ 218517 h 306876"/>
              <a:gd name="connsiteX16" fmla="*/ 81492 w 158750"/>
              <a:gd name="connsiteY16" fmla="*/ 218517 h 306876"/>
              <a:gd name="connsiteX17" fmla="*/ 81492 w 158750"/>
              <a:gd name="connsiteY17" fmla="*/ 218517 h 306876"/>
              <a:gd name="connsiteX18" fmla="*/ 89958 w 158750"/>
              <a:gd name="connsiteY18" fmla="*/ 218517 h 306876"/>
              <a:gd name="connsiteX19" fmla="*/ 92075 w 158750"/>
              <a:gd name="connsiteY19" fmla="*/ 220633 h 306876"/>
              <a:gd name="connsiteX20" fmla="*/ 89958 w 158750"/>
              <a:gd name="connsiteY20" fmla="*/ 222750 h 306876"/>
              <a:gd name="connsiteX21" fmla="*/ 64558 w 158750"/>
              <a:gd name="connsiteY21" fmla="*/ 222750 h 306876"/>
              <a:gd name="connsiteX22" fmla="*/ 58208 w 158750"/>
              <a:gd name="connsiteY22" fmla="*/ 229099 h 306876"/>
              <a:gd name="connsiteX23" fmla="*/ 64558 w 158750"/>
              <a:gd name="connsiteY23" fmla="*/ 235448 h 306876"/>
              <a:gd name="connsiteX24" fmla="*/ 89958 w 158750"/>
              <a:gd name="connsiteY24" fmla="*/ 235448 h 306876"/>
              <a:gd name="connsiteX25" fmla="*/ 104775 w 158750"/>
              <a:gd name="connsiteY25" fmla="*/ 220633 h 306876"/>
              <a:gd name="connsiteX26" fmla="*/ 89958 w 158750"/>
              <a:gd name="connsiteY26" fmla="*/ 205818 h 306876"/>
              <a:gd name="connsiteX27" fmla="*/ 81492 w 158750"/>
              <a:gd name="connsiteY27" fmla="*/ 205818 h 306876"/>
              <a:gd name="connsiteX28" fmla="*/ 81492 w 158750"/>
              <a:gd name="connsiteY28" fmla="*/ 205818 h 306876"/>
              <a:gd name="connsiteX29" fmla="*/ 73025 w 158750"/>
              <a:gd name="connsiteY29" fmla="*/ 205818 h 306876"/>
              <a:gd name="connsiteX30" fmla="*/ 70908 w 158750"/>
              <a:gd name="connsiteY30" fmla="*/ 203702 h 306876"/>
              <a:gd name="connsiteX31" fmla="*/ 73025 w 158750"/>
              <a:gd name="connsiteY31" fmla="*/ 201586 h 306876"/>
              <a:gd name="connsiteX32" fmla="*/ 98425 w 158750"/>
              <a:gd name="connsiteY32" fmla="*/ 201586 h 306876"/>
              <a:gd name="connsiteX33" fmla="*/ 104775 w 158750"/>
              <a:gd name="connsiteY33" fmla="*/ 195236 h 306876"/>
              <a:gd name="connsiteX34" fmla="*/ 98425 w 158750"/>
              <a:gd name="connsiteY34" fmla="*/ 188887 h 306876"/>
              <a:gd name="connsiteX35" fmla="*/ 73025 w 158750"/>
              <a:gd name="connsiteY35" fmla="*/ 188887 h 306876"/>
              <a:gd name="connsiteX36" fmla="*/ 58208 w 158750"/>
              <a:gd name="connsiteY36" fmla="*/ 203702 h 306876"/>
              <a:gd name="connsiteX37" fmla="*/ 97367 w 158750"/>
              <a:gd name="connsiteY37" fmla="*/ 151851 h 306876"/>
              <a:gd name="connsiteX38" fmla="*/ 143404 w 158750"/>
              <a:gd name="connsiteY38" fmla="*/ 212168 h 306876"/>
              <a:gd name="connsiteX39" fmla="*/ 116946 w 158750"/>
              <a:gd name="connsiteY39" fmla="*/ 263490 h 306876"/>
              <a:gd name="connsiteX40" fmla="*/ 154517 w 158750"/>
              <a:gd name="connsiteY40" fmla="*/ 263490 h 306876"/>
              <a:gd name="connsiteX41" fmla="*/ 160867 w 158750"/>
              <a:gd name="connsiteY41" fmla="*/ 269839 h 306876"/>
              <a:gd name="connsiteX42" fmla="*/ 160867 w 158750"/>
              <a:gd name="connsiteY42" fmla="*/ 302643 h 306876"/>
              <a:gd name="connsiteX43" fmla="*/ 154517 w 158750"/>
              <a:gd name="connsiteY43" fmla="*/ 308992 h 306876"/>
              <a:gd name="connsiteX44" fmla="*/ 6350 w 158750"/>
              <a:gd name="connsiteY44" fmla="*/ 308992 h 306876"/>
              <a:gd name="connsiteX45" fmla="*/ 0 w 158750"/>
              <a:gd name="connsiteY45" fmla="*/ 302643 h 306876"/>
              <a:gd name="connsiteX46" fmla="*/ 0 w 158750"/>
              <a:gd name="connsiteY46" fmla="*/ 269839 h 306876"/>
              <a:gd name="connsiteX47" fmla="*/ 6350 w 158750"/>
              <a:gd name="connsiteY47" fmla="*/ 263490 h 306876"/>
              <a:gd name="connsiteX48" fmla="*/ 43921 w 158750"/>
              <a:gd name="connsiteY48" fmla="*/ 263490 h 306876"/>
              <a:gd name="connsiteX49" fmla="*/ 17463 w 158750"/>
              <a:gd name="connsiteY49" fmla="*/ 212168 h 306876"/>
              <a:gd name="connsiteX50" fmla="*/ 63500 w 158750"/>
              <a:gd name="connsiteY50" fmla="*/ 151851 h 306876"/>
              <a:gd name="connsiteX51" fmla="*/ 27517 w 158750"/>
              <a:gd name="connsiteY51" fmla="*/ 108994 h 306876"/>
              <a:gd name="connsiteX52" fmla="*/ 26458 w 158750"/>
              <a:gd name="connsiteY52" fmla="*/ 106877 h 306876"/>
              <a:gd name="connsiteX53" fmla="*/ 16404 w 158750"/>
              <a:gd name="connsiteY53" fmla="*/ 61904 h 306876"/>
              <a:gd name="connsiteX54" fmla="*/ 16404 w 158750"/>
              <a:gd name="connsiteY54" fmla="*/ 45502 h 306876"/>
              <a:gd name="connsiteX55" fmla="*/ 6350 w 158750"/>
              <a:gd name="connsiteY55" fmla="*/ 45502 h 306876"/>
              <a:gd name="connsiteX56" fmla="*/ 0 w 158750"/>
              <a:gd name="connsiteY56" fmla="*/ 39153 h 306876"/>
              <a:gd name="connsiteX57" fmla="*/ 0 w 158750"/>
              <a:gd name="connsiteY57" fmla="*/ 6349 h 306876"/>
              <a:gd name="connsiteX58" fmla="*/ 6350 w 158750"/>
              <a:gd name="connsiteY58" fmla="*/ 0 h 306876"/>
              <a:gd name="connsiteX59" fmla="*/ 154517 w 158750"/>
              <a:gd name="connsiteY59" fmla="*/ 0 h 306876"/>
              <a:gd name="connsiteX60" fmla="*/ 160867 w 158750"/>
              <a:gd name="connsiteY60" fmla="*/ 6349 h 306876"/>
              <a:gd name="connsiteX61" fmla="*/ 160867 w 158750"/>
              <a:gd name="connsiteY61" fmla="*/ 39153 h 306876"/>
              <a:gd name="connsiteX62" fmla="*/ 154517 w 158750"/>
              <a:gd name="connsiteY62" fmla="*/ 45502 h 306876"/>
              <a:gd name="connsiteX63" fmla="*/ 144463 w 158750"/>
              <a:gd name="connsiteY63" fmla="*/ 45502 h 306876"/>
              <a:gd name="connsiteX64" fmla="*/ 144463 w 158750"/>
              <a:gd name="connsiteY64" fmla="*/ 61904 h 306876"/>
              <a:gd name="connsiteX65" fmla="*/ 97367 w 158750"/>
              <a:gd name="connsiteY65" fmla="*/ 151851 h 306876"/>
              <a:gd name="connsiteX66" fmla="*/ 12700 w 158750"/>
              <a:gd name="connsiteY66" fmla="*/ 32804 h 306876"/>
              <a:gd name="connsiteX67" fmla="*/ 148167 w 158750"/>
              <a:gd name="connsiteY67" fmla="*/ 32804 h 306876"/>
              <a:gd name="connsiteX68" fmla="*/ 148167 w 158750"/>
              <a:gd name="connsiteY68" fmla="*/ 12698 h 306876"/>
              <a:gd name="connsiteX69" fmla="*/ 12700 w 158750"/>
              <a:gd name="connsiteY69" fmla="*/ 12698 h 306876"/>
              <a:gd name="connsiteX70" fmla="*/ 12700 w 158750"/>
              <a:gd name="connsiteY70" fmla="*/ 32804 h 306876"/>
              <a:gd name="connsiteX71" fmla="*/ 148167 w 158750"/>
              <a:gd name="connsiteY71" fmla="*/ 276188 h 306876"/>
              <a:gd name="connsiteX72" fmla="*/ 12700 w 158750"/>
              <a:gd name="connsiteY72" fmla="*/ 276188 h 306876"/>
              <a:gd name="connsiteX73" fmla="*/ 12700 w 158750"/>
              <a:gd name="connsiteY73" fmla="*/ 296294 h 306876"/>
              <a:gd name="connsiteX74" fmla="*/ 148167 w 158750"/>
              <a:gd name="connsiteY74" fmla="*/ 296294 h 306876"/>
              <a:gd name="connsiteX75" fmla="*/ 148167 w 158750"/>
              <a:gd name="connsiteY75" fmla="*/ 276188 h 306876"/>
              <a:gd name="connsiteX76" fmla="*/ 36513 w 158750"/>
              <a:gd name="connsiteY76" fmla="*/ 98941 h 306876"/>
              <a:gd name="connsiteX77" fmla="*/ 124354 w 158750"/>
              <a:gd name="connsiteY77" fmla="*/ 98941 h 306876"/>
              <a:gd name="connsiteX78" fmla="*/ 131763 w 158750"/>
              <a:gd name="connsiteY78" fmla="*/ 62433 h 306876"/>
              <a:gd name="connsiteX79" fmla="*/ 131763 w 158750"/>
              <a:gd name="connsiteY79" fmla="*/ 46031 h 306876"/>
              <a:gd name="connsiteX80" fmla="*/ 29104 w 158750"/>
              <a:gd name="connsiteY80" fmla="*/ 46031 h 306876"/>
              <a:gd name="connsiteX81" fmla="*/ 29104 w 158750"/>
              <a:gd name="connsiteY81" fmla="*/ 62433 h 306876"/>
              <a:gd name="connsiteX82" fmla="*/ 36513 w 158750"/>
              <a:gd name="connsiteY82" fmla="*/ 98941 h 306876"/>
              <a:gd name="connsiteX83" fmla="*/ 80433 w 158750"/>
              <a:gd name="connsiteY83" fmla="*/ 161904 h 306876"/>
              <a:gd name="connsiteX84" fmla="*/ 30163 w 158750"/>
              <a:gd name="connsiteY84" fmla="*/ 212168 h 306876"/>
              <a:gd name="connsiteX85" fmla="*/ 80433 w 158750"/>
              <a:gd name="connsiteY85" fmla="*/ 262432 h 306876"/>
              <a:gd name="connsiteX86" fmla="*/ 130704 w 158750"/>
              <a:gd name="connsiteY86" fmla="*/ 212168 h 306876"/>
              <a:gd name="connsiteX87" fmla="*/ 80433 w 158750"/>
              <a:gd name="connsiteY87" fmla="*/ 161904 h 306876"/>
              <a:gd name="connsiteX88" fmla="*/ 118004 w 158750"/>
              <a:gd name="connsiteY88" fmla="*/ 111639 h 306876"/>
              <a:gd name="connsiteX89" fmla="*/ 42863 w 158750"/>
              <a:gd name="connsiteY89" fmla="*/ 111639 h 306876"/>
              <a:gd name="connsiteX90" fmla="*/ 80433 w 158750"/>
              <a:gd name="connsiteY90" fmla="*/ 147618 h 306876"/>
              <a:gd name="connsiteX91" fmla="*/ 118004 w 158750"/>
              <a:gd name="connsiteY91" fmla="*/ 111639 h 3068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Lst>
            <a:rect l="l" t="t" r="r" b="b"/>
            <a:pathLst>
              <a:path w="158750" h="306876">
                <a:moveTo>
                  <a:pt x="81492" y="168252"/>
                </a:moveTo>
                <a:cubicBezTo>
                  <a:pt x="85196" y="168252"/>
                  <a:pt x="87842" y="170898"/>
                  <a:pt x="87842" y="174602"/>
                </a:cubicBezTo>
                <a:lnTo>
                  <a:pt x="87842" y="180951"/>
                </a:lnTo>
                <a:cubicBezTo>
                  <a:pt x="87842" y="184654"/>
                  <a:pt x="85196" y="187300"/>
                  <a:pt x="81492" y="187300"/>
                </a:cubicBezTo>
                <a:cubicBezTo>
                  <a:pt x="77788" y="187300"/>
                  <a:pt x="75142" y="184654"/>
                  <a:pt x="75142" y="180951"/>
                </a:cubicBezTo>
                <a:lnTo>
                  <a:pt x="75142" y="174602"/>
                </a:lnTo>
                <a:cubicBezTo>
                  <a:pt x="75142" y="171427"/>
                  <a:pt x="77788" y="168252"/>
                  <a:pt x="81492" y="168252"/>
                </a:cubicBezTo>
                <a:close/>
                <a:moveTo>
                  <a:pt x="81492" y="237035"/>
                </a:moveTo>
                <a:cubicBezTo>
                  <a:pt x="77788" y="237035"/>
                  <a:pt x="75142" y="239681"/>
                  <a:pt x="75142" y="243385"/>
                </a:cubicBezTo>
                <a:lnTo>
                  <a:pt x="75142" y="249205"/>
                </a:lnTo>
                <a:cubicBezTo>
                  <a:pt x="75142" y="252908"/>
                  <a:pt x="77788" y="255553"/>
                  <a:pt x="81492" y="255553"/>
                </a:cubicBezTo>
                <a:cubicBezTo>
                  <a:pt x="85196" y="255553"/>
                  <a:pt x="87842" y="252908"/>
                  <a:pt x="87842" y="249205"/>
                </a:cubicBezTo>
                <a:lnTo>
                  <a:pt x="87842" y="243385"/>
                </a:lnTo>
                <a:cubicBezTo>
                  <a:pt x="87842" y="240210"/>
                  <a:pt x="84667" y="237035"/>
                  <a:pt x="81492" y="237035"/>
                </a:cubicBezTo>
                <a:close/>
                <a:moveTo>
                  <a:pt x="58208" y="203702"/>
                </a:moveTo>
                <a:cubicBezTo>
                  <a:pt x="58208" y="211639"/>
                  <a:pt x="65088" y="218517"/>
                  <a:pt x="73025" y="218517"/>
                </a:cubicBezTo>
                <a:lnTo>
                  <a:pt x="81492" y="218517"/>
                </a:lnTo>
                <a:lnTo>
                  <a:pt x="81492" y="218517"/>
                </a:lnTo>
                <a:lnTo>
                  <a:pt x="89958" y="218517"/>
                </a:lnTo>
                <a:cubicBezTo>
                  <a:pt x="91017" y="218517"/>
                  <a:pt x="92075" y="219575"/>
                  <a:pt x="92075" y="220633"/>
                </a:cubicBezTo>
                <a:cubicBezTo>
                  <a:pt x="92075" y="221691"/>
                  <a:pt x="91017" y="222750"/>
                  <a:pt x="89958" y="222750"/>
                </a:cubicBezTo>
                <a:lnTo>
                  <a:pt x="64558" y="222750"/>
                </a:lnTo>
                <a:cubicBezTo>
                  <a:pt x="60854" y="222750"/>
                  <a:pt x="58208" y="225395"/>
                  <a:pt x="58208" y="229099"/>
                </a:cubicBezTo>
                <a:cubicBezTo>
                  <a:pt x="58208" y="232803"/>
                  <a:pt x="60854" y="235448"/>
                  <a:pt x="64558" y="235448"/>
                </a:cubicBezTo>
                <a:lnTo>
                  <a:pt x="89958" y="235448"/>
                </a:lnTo>
                <a:cubicBezTo>
                  <a:pt x="97896" y="235448"/>
                  <a:pt x="104775" y="228570"/>
                  <a:pt x="104775" y="220633"/>
                </a:cubicBezTo>
                <a:cubicBezTo>
                  <a:pt x="104775" y="212697"/>
                  <a:pt x="97896" y="205818"/>
                  <a:pt x="89958" y="205818"/>
                </a:cubicBezTo>
                <a:lnTo>
                  <a:pt x="81492" y="205818"/>
                </a:lnTo>
                <a:lnTo>
                  <a:pt x="81492" y="205818"/>
                </a:lnTo>
                <a:lnTo>
                  <a:pt x="73025" y="205818"/>
                </a:lnTo>
                <a:cubicBezTo>
                  <a:pt x="71967" y="205818"/>
                  <a:pt x="70908" y="204760"/>
                  <a:pt x="70908" y="203702"/>
                </a:cubicBezTo>
                <a:cubicBezTo>
                  <a:pt x="70908" y="202644"/>
                  <a:pt x="71967" y="201586"/>
                  <a:pt x="73025" y="201586"/>
                </a:cubicBezTo>
                <a:lnTo>
                  <a:pt x="98425" y="201586"/>
                </a:lnTo>
                <a:cubicBezTo>
                  <a:pt x="102129" y="201586"/>
                  <a:pt x="104775" y="198940"/>
                  <a:pt x="104775" y="195236"/>
                </a:cubicBezTo>
                <a:cubicBezTo>
                  <a:pt x="104775" y="191533"/>
                  <a:pt x="102129" y="188887"/>
                  <a:pt x="98425" y="188887"/>
                </a:cubicBezTo>
                <a:lnTo>
                  <a:pt x="73025" y="188887"/>
                </a:lnTo>
                <a:cubicBezTo>
                  <a:pt x="65088" y="188887"/>
                  <a:pt x="58208" y="195766"/>
                  <a:pt x="58208" y="203702"/>
                </a:cubicBezTo>
                <a:close/>
                <a:moveTo>
                  <a:pt x="97367" y="151851"/>
                </a:moveTo>
                <a:cubicBezTo>
                  <a:pt x="123825" y="159258"/>
                  <a:pt x="143404" y="183596"/>
                  <a:pt x="143404" y="212168"/>
                </a:cubicBezTo>
                <a:cubicBezTo>
                  <a:pt x="143404" y="233332"/>
                  <a:pt x="132821" y="251850"/>
                  <a:pt x="116946" y="263490"/>
                </a:cubicBezTo>
                <a:lnTo>
                  <a:pt x="154517" y="263490"/>
                </a:lnTo>
                <a:cubicBezTo>
                  <a:pt x="158221" y="263490"/>
                  <a:pt x="160867" y="266135"/>
                  <a:pt x="160867" y="269839"/>
                </a:cubicBezTo>
                <a:lnTo>
                  <a:pt x="160867" y="302643"/>
                </a:lnTo>
                <a:cubicBezTo>
                  <a:pt x="160867" y="306347"/>
                  <a:pt x="158221" y="308992"/>
                  <a:pt x="154517" y="308992"/>
                </a:cubicBezTo>
                <a:lnTo>
                  <a:pt x="6350" y="308992"/>
                </a:lnTo>
                <a:cubicBezTo>
                  <a:pt x="2646" y="308992"/>
                  <a:pt x="0" y="306347"/>
                  <a:pt x="0" y="302643"/>
                </a:cubicBezTo>
                <a:lnTo>
                  <a:pt x="0" y="269839"/>
                </a:lnTo>
                <a:cubicBezTo>
                  <a:pt x="0" y="266135"/>
                  <a:pt x="2646" y="263490"/>
                  <a:pt x="6350" y="263490"/>
                </a:cubicBezTo>
                <a:lnTo>
                  <a:pt x="43921" y="263490"/>
                </a:lnTo>
                <a:cubicBezTo>
                  <a:pt x="28046" y="251850"/>
                  <a:pt x="17463" y="233332"/>
                  <a:pt x="17463" y="212168"/>
                </a:cubicBezTo>
                <a:cubicBezTo>
                  <a:pt x="17463" y="183067"/>
                  <a:pt x="37042" y="159258"/>
                  <a:pt x="63500" y="151851"/>
                </a:cubicBezTo>
                <a:cubicBezTo>
                  <a:pt x="48154" y="140740"/>
                  <a:pt x="35454" y="125925"/>
                  <a:pt x="27517" y="108994"/>
                </a:cubicBezTo>
                <a:cubicBezTo>
                  <a:pt x="26988" y="108465"/>
                  <a:pt x="26988" y="107935"/>
                  <a:pt x="26458" y="106877"/>
                </a:cubicBezTo>
                <a:cubicBezTo>
                  <a:pt x="20108" y="93121"/>
                  <a:pt x="16404" y="77777"/>
                  <a:pt x="16404" y="61904"/>
                </a:cubicBezTo>
                <a:lnTo>
                  <a:pt x="16404" y="45502"/>
                </a:lnTo>
                <a:lnTo>
                  <a:pt x="6350" y="45502"/>
                </a:lnTo>
                <a:cubicBezTo>
                  <a:pt x="2646" y="45502"/>
                  <a:pt x="0" y="42857"/>
                  <a:pt x="0" y="39153"/>
                </a:cubicBezTo>
                <a:lnTo>
                  <a:pt x="0" y="6349"/>
                </a:lnTo>
                <a:cubicBezTo>
                  <a:pt x="0" y="2645"/>
                  <a:pt x="2646" y="0"/>
                  <a:pt x="6350" y="0"/>
                </a:cubicBezTo>
                <a:lnTo>
                  <a:pt x="154517" y="0"/>
                </a:lnTo>
                <a:cubicBezTo>
                  <a:pt x="158221" y="0"/>
                  <a:pt x="160867" y="2645"/>
                  <a:pt x="160867" y="6349"/>
                </a:cubicBezTo>
                <a:lnTo>
                  <a:pt x="160867" y="39153"/>
                </a:lnTo>
                <a:cubicBezTo>
                  <a:pt x="160867" y="42857"/>
                  <a:pt x="158221" y="45502"/>
                  <a:pt x="154517" y="45502"/>
                </a:cubicBezTo>
                <a:lnTo>
                  <a:pt x="144463" y="45502"/>
                </a:lnTo>
                <a:lnTo>
                  <a:pt x="144463" y="61904"/>
                </a:lnTo>
                <a:cubicBezTo>
                  <a:pt x="144463" y="97883"/>
                  <a:pt x="126471" y="131216"/>
                  <a:pt x="97367" y="151851"/>
                </a:cubicBezTo>
                <a:close/>
                <a:moveTo>
                  <a:pt x="12700" y="32804"/>
                </a:moveTo>
                <a:lnTo>
                  <a:pt x="148167" y="32804"/>
                </a:lnTo>
                <a:lnTo>
                  <a:pt x="148167" y="12698"/>
                </a:lnTo>
                <a:lnTo>
                  <a:pt x="12700" y="12698"/>
                </a:lnTo>
                <a:lnTo>
                  <a:pt x="12700" y="32804"/>
                </a:lnTo>
                <a:close/>
                <a:moveTo>
                  <a:pt x="148167" y="276188"/>
                </a:moveTo>
                <a:lnTo>
                  <a:pt x="12700" y="276188"/>
                </a:lnTo>
                <a:lnTo>
                  <a:pt x="12700" y="296294"/>
                </a:lnTo>
                <a:lnTo>
                  <a:pt x="148167" y="296294"/>
                </a:lnTo>
                <a:lnTo>
                  <a:pt x="148167" y="276188"/>
                </a:lnTo>
                <a:close/>
                <a:moveTo>
                  <a:pt x="36513" y="98941"/>
                </a:moveTo>
                <a:lnTo>
                  <a:pt x="124354" y="98941"/>
                </a:lnTo>
                <a:cubicBezTo>
                  <a:pt x="129117" y="87301"/>
                  <a:pt x="131763" y="75132"/>
                  <a:pt x="131763" y="62433"/>
                </a:cubicBezTo>
                <a:lnTo>
                  <a:pt x="131763" y="46031"/>
                </a:lnTo>
                <a:lnTo>
                  <a:pt x="29104" y="46031"/>
                </a:lnTo>
                <a:lnTo>
                  <a:pt x="29104" y="62433"/>
                </a:lnTo>
                <a:cubicBezTo>
                  <a:pt x="29104" y="74603"/>
                  <a:pt x="31750" y="87301"/>
                  <a:pt x="36513" y="98941"/>
                </a:cubicBezTo>
                <a:close/>
                <a:moveTo>
                  <a:pt x="80433" y="161904"/>
                </a:moveTo>
                <a:cubicBezTo>
                  <a:pt x="52388" y="161904"/>
                  <a:pt x="30163" y="184654"/>
                  <a:pt x="30163" y="212168"/>
                </a:cubicBezTo>
                <a:cubicBezTo>
                  <a:pt x="30163" y="240210"/>
                  <a:pt x="52917" y="262432"/>
                  <a:pt x="80433" y="262432"/>
                </a:cubicBezTo>
                <a:cubicBezTo>
                  <a:pt x="108479" y="262432"/>
                  <a:pt x="130704" y="239681"/>
                  <a:pt x="130704" y="212168"/>
                </a:cubicBezTo>
                <a:cubicBezTo>
                  <a:pt x="130704" y="184125"/>
                  <a:pt x="107950" y="161904"/>
                  <a:pt x="80433" y="161904"/>
                </a:cubicBezTo>
                <a:close/>
                <a:moveTo>
                  <a:pt x="118004" y="111639"/>
                </a:moveTo>
                <a:lnTo>
                  <a:pt x="42863" y="111639"/>
                </a:lnTo>
                <a:cubicBezTo>
                  <a:pt x="51858" y="126454"/>
                  <a:pt x="64558" y="139152"/>
                  <a:pt x="80433" y="147618"/>
                </a:cubicBezTo>
                <a:cubicBezTo>
                  <a:pt x="96308" y="139152"/>
                  <a:pt x="109008" y="126454"/>
                  <a:pt x="118004" y="111639"/>
                </a:cubicBezTo>
                <a:close/>
              </a:path>
            </a:pathLst>
          </a:custGeom>
          <a:solidFill>
            <a:srgbClr val="28828B"/>
          </a:solidFill>
          <a:ln w="5286"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MX" sz="2400" b="0" i="0" u="none" strike="noStrike" kern="1200" cap="none" spc="0" normalizeH="0" baseline="0" noProof="0">
              <a:ln>
                <a:noFill/>
              </a:ln>
              <a:solidFill>
                <a:srgbClr val="000000"/>
              </a:solidFill>
              <a:effectLst/>
              <a:uLnTx/>
              <a:uFillTx/>
              <a:latin typeface="Corona LT"/>
              <a:ea typeface="+mn-ea"/>
              <a:cs typeface="+mn-cs"/>
            </a:endParaRPr>
          </a:p>
        </p:txBody>
      </p:sp>
      <p:sp>
        <p:nvSpPr>
          <p:cNvPr id="873" name="Inhaltsplatzhalter 5">
            <a:extLst>
              <a:ext uri="{FF2B5EF4-FFF2-40B4-BE49-F238E27FC236}">
                <a16:creationId xmlns:a16="http://schemas.microsoft.com/office/drawing/2014/main" id="{6FA95E53-400D-4139-B1CB-1AD5C4CEC5AB}"/>
              </a:ext>
            </a:extLst>
          </p:cNvPr>
          <p:cNvSpPr txBox="1">
            <a:spLocks/>
          </p:cNvSpPr>
          <p:nvPr/>
        </p:nvSpPr>
        <p:spPr>
          <a:xfrm>
            <a:off x="5636082" y="4040017"/>
            <a:ext cx="2768570"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Devisenmärkte </a:t>
            </a:r>
            <a:br>
              <a:rPr kumimoji="0" lang="de-CH" sz="16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b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Wechselkurs-Alarm»</a:t>
            </a: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0" i="0" u="none" strike="noStrike" kern="1200" cap="none" spc="0" normalizeH="0" baseline="0" noProof="0" dirty="0">
                <a:ln>
                  <a:noFill/>
                </a:ln>
                <a:solidFill>
                  <a:srgbClr val="8C8C8F"/>
                </a:solidFill>
                <a:effectLst/>
                <a:uLnTx/>
                <a:uFillTx/>
                <a:latin typeface="HelveticaNeueLT Com 55 Roman"/>
                <a:ea typeface="MS PGothic" panose="020B0600070205080204" pitchFamily="34" charset="-128"/>
                <a:cs typeface="Segoe UI" panose="020B0502040204020203" pitchFamily="34" charset="0"/>
              </a:rPr>
              <a:t>Zielkurs definieren</a:t>
            </a: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457589" marR="0" lvl="0" indent="-457189" algn="l" defTabSz="1035025" rtl="0" eaLnBrk="1" fontAlgn="base" latinLnBrk="0" hangingPunct="1">
              <a:lnSpc>
                <a:spcPct val="100000"/>
              </a:lnSpc>
              <a:spcBef>
                <a:spcPts val="0"/>
              </a:spcBef>
              <a:spcAft>
                <a:spcPts val="600"/>
              </a:spcAft>
              <a:buClr>
                <a:srgbClr val="FFFFFF">
                  <a:lumMod val="50000"/>
                </a:srgbClr>
              </a:buClr>
              <a:buSzTx/>
              <a:buFont typeface="+mj-lt"/>
              <a:buAutoNum type="arabicPeriod"/>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Täglichen oder individuellen Kursalarm einrichten</a:t>
            </a:r>
          </a:p>
          <a:p>
            <a:pPr marL="381390" marR="0" lvl="0" indent="-380990" algn="l" defTabSz="1035025" rtl="0" eaLnBrk="1" fontAlgn="base" latinLnBrk="0" hangingPunct="1">
              <a:lnSpc>
                <a:spcPct val="100000"/>
              </a:lnSpc>
              <a:spcBef>
                <a:spcPts val="0"/>
              </a:spcBef>
              <a:spcAft>
                <a:spcPts val="600"/>
              </a:spcAft>
              <a:buClr>
                <a:srgbClr val="FFFFFF">
                  <a:lumMod val="50000"/>
                </a:srgbClr>
              </a:buClr>
              <a:buSzTx/>
              <a:buFont typeface="Wingdings" pitchFamily="2" charset="2"/>
              <a:buChar char="Ø"/>
              <a:tabLst/>
              <a:defRPr/>
            </a:pPr>
            <a: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Nie mehr einen guten FX-Deal   </a:t>
            </a:r>
            <a:b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r>
              <a:rPr kumimoji="0" lang="de-CH" sz="1200" b="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verpassen</a:t>
            </a:r>
          </a:p>
        </p:txBody>
      </p:sp>
      <p:pic>
        <p:nvPicPr>
          <p:cNvPr id="36" name="Grafik 35">
            <a:extLst>
              <a:ext uri="{FF2B5EF4-FFF2-40B4-BE49-F238E27FC236}">
                <a16:creationId xmlns:a16="http://schemas.microsoft.com/office/drawing/2014/main" id="{3B0DA47D-EDDF-47F1-B227-AE66D0D3531F}"/>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3654664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448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CH" dirty="0"/>
              <a:t>CARDS – Multiwährungs-Debitkarten für Ihr Business</a:t>
            </a:r>
            <a:br>
              <a:rPr lang="de-CH" dirty="0"/>
            </a:br>
            <a:r>
              <a:rPr lang="de-CH" sz="1900" b="0" noProof="1">
                <a:solidFill>
                  <a:srgbClr val="28828B"/>
                </a:solidFill>
                <a:latin typeface="Corona LT" panose="02000604020000090004" pitchFamily="2" charset="0"/>
              </a:rPr>
              <a:t>amnis Leistungen für Sie</a:t>
            </a:r>
            <a:endParaRPr lang="de-CH" sz="1900" dirty="0"/>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dirty="0">
                <a:ln>
                  <a:noFill/>
                </a:ln>
                <a:solidFill>
                  <a:srgbClr val="28828B"/>
                </a:solidFill>
                <a:effectLst/>
                <a:uLnTx/>
                <a:uFillTx/>
                <a:latin typeface="HelveticaNeueLT Com 55 Roman"/>
                <a:ea typeface="+mn-ea"/>
                <a:cs typeface="+mn-cs"/>
              </a:rPr>
              <a:t>CARDS</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Multi-</a:t>
            </a:r>
          </a:p>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währungs-Debitkarten mit Spesen-management</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600" b="1" dirty="0">
                <a:solidFill>
                  <a:srgbClr val="28828B"/>
                </a:solidFill>
                <a:latin typeface="HelveticaNeueLT Com 55 Roman"/>
              </a:rPr>
              <a:t>Eine Karte, unzählige Möglichkeiten</a:t>
            </a: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Mittagessen mit Kunden</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lang="de-CH" sz="1200" dirty="0">
                <a:solidFill>
                  <a:srgbClr val="868689"/>
                </a:solidFill>
                <a:latin typeface="HelveticaNeueLT Com 55 Roman"/>
              </a:rPr>
              <a:t>Firmenwagen auftanken</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Ba</a:t>
            </a:r>
            <a:r>
              <a:rPr lang="de-CH" sz="1200" dirty="0" err="1">
                <a:solidFill>
                  <a:srgbClr val="868689"/>
                </a:solidFill>
                <a:latin typeface="HelveticaNeueLT Com 55 Roman"/>
              </a:rPr>
              <a:t>hntickets</a:t>
            </a:r>
            <a:r>
              <a:rPr lang="de-CH" sz="1200" dirty="0">
                <a:solidFill>
                  <a:srgbClr val="868689"/>
                </a:solidFill>
                <a:latin typeface="HelveticaNeueLT Com 55 Roman"/>
              </a:rPr>
              <a:t> buchen</a:t>
            </a: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Gebühren für Online Tools bezahlen</a:t>
            </a:r>
          </a:p>
          <a:p>
            <a:pPr marR="0" lvl="0" algn="l" defTabSz="1035025" rtl="0" eaLnBrk="1" fontAlgn="base" latinLnBrk="0" hangingPunct="1">
              <a:lnSpc>
                <a:spcPct val="100000"/>
              </a:lnSpc>
              <a:spcBef>
                <a:spcPts val="0"/>
              </a:spcBef>
              <a:spcAft>
                <a:spcPts val="600"/>
              </a:spcAft>
              <a:buClr>
                <a:srgbClr val="28828B"/>
              </a:buClr>
              <a:buSzTx/>
              <a:tabLst/>
              <a:defRPr/>
            </a:pPr>
            <a:endParaRPr lang="de-CH" sz="1200" dirty="0">
              <a:solidFill>
                <a:srgbClr val="868689"/>
              </a:solidFill>
              <a:latin typeface="HelveticaNeueLT Com 55 Roman"/>
            </a:endParaRPr>
          </a:p>
          <a:p>
            <a:pPr marR="0" lvl="0" algn="l" defTabSz="1035025" rtl="0" eaLnBrk="1" fontAlgn="base" latinLnBrk="0" hangingPunct="1">
              <a:lnSpc>
                <a:spcPct val="100000"/>
              </a:lnSpc>
              <a:spcBef>
                <a:spcPts val="0"/>
              </a:spcBef>
              <a:spcAft>
                <a:spcPts val="600"/>
              </a:spcAft>
              <a:buClr>
                <a:srgbClr val="28828B"/>
              </a:buClr>
              <a:buSzTx/>
              <a:tabLst/>
              <a:defRPr/>
            </a:pP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Mit der </a:t>
            </a:r>
            <a:r>
              <a:rPr kumimoji="0" lang="de-CH" sz="1200" b="0" i="0" u="none" strike="noStrike" kern="1200" cap="none" spc="0" normalizeH="0" baseline="0" noProof="0" dirty="0" err="1">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mnis</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a:t>
            </a:r>
            <a:r>
              <a:rPr kumimoji="0" lang="de-CH" sz="12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Business Debit Mastercard</a:t>
            </a:r>
            <a:r>
              <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 können Sie und Ihr KMU weltweit mit physischen und virtuellen Firmen-Debitkarten zahlen und dabei stets die Kontrolle über alle Ausgaben bezahlten.</a:t>
            </a:r>
          </a:p>
          <a:p>
            <a:pPr marR="0" lvl="0" algn="l" defTabSz="1035025" rtl="0" eaLnBrk="1" fontAlgn="base" latinLnBrk="0" hangingPunct="1">
              <a:lnSpc>
                <a:spcPct val="100000"/>
              </a:lnSpc>
              <a:spcBef>
                <a:spcPts val="0"/>
              </a:spcBef>
              <a:spcAft>
                <a:spcPts val="600"/>
              </a:spcAft>
              <a:buClr>
                <a:srgbClr val="28828B"/>
              </a:buClr>
              <a:buSzTx/>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Multi-Währungskarte mit </a:t>
            </a:r>
            <a:r>
              <a:rPr kumimoji="0" lang="de-CH" sz="1600" b="1" i="0" u="none" strike="noStrike" kern="1200" cap="none" spc="0" normalizeH="0" baseline="0" noProof="0" dirty="0">
                <a:ln>
                  <a:noFill/>
                </a:ln>
                <a:solidFill>
                  <a:schemeClr val="accent2"/>
                </a:solidFill>
                <a:effectLst/>
                <a:uLnTx/>
                <a:uFillTx/>
                <a:latin typeface="HelveticaNeueLT Com 55 Roman"/>
                <a:ea typeface="MS PGothic" panose="020B0600070205080204" pitchFamily="34" charset="-128"/>
                <a:cs typeface="Segoe UI" panose="020B0502040204020203" pitchFamily="34" charset="0"/>
              </a:rPr>
              <a:t>0% Bearbeitungsgebühren</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Zahlungen in 20+ Währungskonten </a:t>
            </a:r>
            <a:r>
              <a:rPr kumimoji="0" lang="de-CH" sz="12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erledigen: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200" dirty="0">
                <a:solidFill>
                  <a:schemeClr val="bg1">
                    <a:lumMod val="50000"/>
                  </a:schemeClr>
                </a:solidFill>
                <a:latin typeface="HelveticaNeueLT Com 55 Roman"/>
              </a:rPr>
              <a:t>Die Transaktionen werden direkt vom jeweiligen Währungskonto </a:t>
            </a:r>
            <a:r>
              <a:rPr lang="de-CH" sz="1200" dirty="0" err="1">
                <a:solidFill>
                  <a:schemeClr val="bg1">
                    <a:lumMod val="50000"/>
                  </a:schemeClr>
                </a:solidFill>
                <a:latin typeface="HelveticaNeueLT Com 55 Roman"/>
              </a:rPr>
              <a:t>abge</a:t>
            </a:r>
            <a:r>
              <a:rPr lang="de-CH" sz="1200" dirty="0">
                <a:solidFill>
                  <a:schemeClr val="bg1">
                    <a:lumMod val="50000"/>
                  </a:schemeClr>
                </a:solidFill>
                <a:latin typeface="HelveticaNeueLT Com 55 Roman"/>
              </a:rPr>
              <a:t>-bucht, wodurch unnötige Währungs-wechsel vermieden werden.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2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Eine Währung nicht gedeckt? Solange Ihr Gesamtsaldo ausreicht, wird einfach über das Referenzkonto (CHF, EUR) in die Transaktions-währung umgerechnet – mit 0% Bearbeitungsgebühren.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200" b="1" dirty="0">
                <a:solidFill>
                  <a:srgbClr val="28828B"/>
                </a:solidFill>
                <a:latin typeface="HelveticaNeueLT Com 55 Roman"/>
              </a:rPr>
              <a:t>Sparen Sie mit der </a:t>
            </a:r>
            <a:r>
              <a:rPr lang="de-CH" sz="1200" b="1" dirty="0" err="1">
                <a:solidFill>
                  <a:srgbClr val="28828B"/>
                </a:solidFill>
                <a:latin typeface="HelveticaNeueLT Com 55 Roman"/>
              </a:rPr>
              <a:t>amnis</a:t>
            </a:r>
            <a:r>
              <a:rPr lang="de-CH" sz="1200" b="1" dirty="0">
                <a:solidFill>
                  <a:srgbClr val="28828B"/>
                </a:solidFill>
                <a:latin typeface="HelveticaNeueLT Com 55 Roman"/>
              </a:rPr>
              <a:t> Debit-karte bis zu 5% gegenüber her-</a:t>
            </a:r>
            <a:r>
              <a:rPr lang="de-CH" sz="1200" b="1" dirty="0" err="1">
                <a:solidFill>
                  <a:srgbClr val="28828B"/>
                </a:solidFill>
                <a:latin typeface="HelveticaNeueLT Com 55 Roman"/>
              </a:rPr>
              <a:t>kömmlichen</a:t>
            </a:r>
            <a:r>
              <a:rPr lang="de-CH" sz="1200" b="1" dirty="0">
                <a:solidFill>
                  <a:srgbClr val="28828B"/>
                </a:solidFill>
                <a:latin typeface="HelveticaNeueLT Com 55 Roman"/>
              </a:rPr>
              <a:t> Kartentransaktionen.</a:t>
            </a:r>
            <a:endParaRPr kumimoji="0" lang="de-CH" sz="12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sp>
        <p:nvSpPr>
          <p:cNvPr id="14" name="Inhaltsplatzhalter 5">
            <a:extLst>
              <a:ext uri="{FF2B5EF4-FFF2-40B4-BE49-F238E27FC236}">
                <a16:creationId xmlns:a16="http://schemas.microsoft.com/office/drawing/2014/main" id="{B04045DC-D333-4FF0-87B9-52B92674C8AE}"/>
              </a:ext>
            </a:extLst>
          </p:cNvPr>
          <p:cNvSpPr txBox="1">
            <a:spLocks/>
          </p:cNvSpPr>
          <p:nvPr/>
        </p:nvSpPr>
        <p:spPr>
          <a:xfrm>
            <a:off x="8977740" y="1838357"/>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0" i="0" u="none" strike="noStrike" kern="1200" cap="none" spc="0" normalizeH="0" baseline="0" noProof="0" dirty="0">
                <a:ln>
                  <a:noFill/>
                </a:ln>
                <a:solidFill>
                  <a:srgbClr val="919194"/>
                </a:solidFill>
                <a:effectLst/>
                <a:uLnTx/>
                <a:uFillTx/>
                <a:latin typeface="HelveticaNeueLT Com 55 Roman"/>
                <a:ea typeface="MS PGothic" panose="020B0600070205080204" pitchFamily="34" charset="-128"/>
                <a:cs typeface="Segoe UI" panose="020B0502040204020203" pitchFamily="34" charset="0"/>
              </a:rPr>
              <a:t>Effektives </a:t>
            </a: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Karten- und Spesenmanagemen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de-CH" sz="1200" dirty="0">
                <a:solidFill>
                  <a:schemeClr val="bg1">
                    <a:lumMod val="50000"/>
                  </a:schemeClr>
                </a:solidFill>
                <a:latin typeface="HelveticaNeueLT Com 55 Roman"/>
              </a:rPr>
              <a:t>Digitale Kartenerstellung in Echtzeit + Self-Service</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de-CH" sz="1200" dirty="0">
                <a:solidFill>
                  <a:schemeClr val="bg1">
                    <a:lumMod val="50000"/>
                  </a:schemeClr>
                </a:solidFill>
                <a:latin typeface="HelveticaNeueLT Com 55 Roman"/>
              </a:rPr>
              <a:t>Unlimitierte Anzahl virtueller Karten kostenlos</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de-CH" sz="12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Hohe </a:t>
            </a:r>
            <a:r>
              <a:rPr kumimoji="0" lang="de-CH" sz="1200" i="0" u="none" strike="noStrike" kern="1200" cap="none" spc="0" normalizeH="0" baseline="0" noProof="0" dirty="0" err="1">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Ausga</a:t>
            </a:r>
            <a:r>
              <a:rPr lang="de-CH" sz="1200" dirty="0" err="1">
                <a:solidFill>
                  <a:schemeClr val="bg1">
                    <a:lumMod val="50000"/>
                  </a:schemeClr>
                </a:solidFill>
                <a:latin typeface="HelveticaNeueLT Com 55 Roman"/>
              </a:rPr>
              <a:t>benlimits</a:t>
            </a:r>
            <a:r>
              <a:rPr lang="de-CH" sz="1200" dirty="0">
                <a:solidFill>
                  <a:schemeClr val="bg1">
                    <a:lumMod val="50000"/>
                  </a:schemeClr>
                </a:solidFill>
                <a:latin typeface="HelveticaNeueLT Com 55 Roman"/>
              </a:rPr>
              <a:t>, einfach online anpassbar</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de-CH" sz="12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Budgetkontrolle mit individuellen Einschränkungen</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de-CH" sz="1200" dirty="0">
                <a:solidFill>
                  <a:schemeClr val="bg1">
                    <a:lumMod val="50000"/>
                  </a:schemeClr>
                </a:solidFill>
                <a:latin typeface="HelveticaNeueLT Com 55 Roman"/>
              </a:rPr>
              <a:t>Flexible De- und Reaktivierung von Karten</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lang="de-CH" sz="1200" dirty="0">
                <a:solidFill>
                  <a:schemeClr val="bg1">
                    <a:lumMod val="50000"/>
                  </a:schemeClr>
                </a:solidFill>
                <a:latin typeface="HelveticaNeueLT Com 55 Roman"/>
              </a:rPr>
              <a:t>Individuelle Ländereinstellungen</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de-CH" sz="1200" i="0" u="none" strike="noStrike" kern="1200" cap="none" spc="0" normalizeH="0" baseline="0" noProof="0" dirty="0">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Multi</a:t>
            </a:r>
            <a:r>
              <a:rPr lang="de-CH" sz="1200" dirty="0">
                <a:solidFill>
                  <a:schemeClr val="bg1">
                    <a:lumMod val="50000"/>
                  </a:schemeClr>
                </a:solidFill>
                <a:latin typeface="HelveticaNeueLT Com 55 Roman"/>
              </a:rPr>
              <a:t>währungs-Abrechnung</a:t>
            </a:r>
          </a:p>
          <a:p>
            <a:pPr marL="171450" marR="0" lvl="0" indent="-171450" algn="l" defTabSz="1035025" rtl="0" eaLnBrk="1" fontAlgn="base" latinLnBrk="0" hangingPunct="1">
              <a:lnSpc>
                <a:spcPct val="100000"/>
              </a:lnSpc>
              <a:spcBef>
                <a:spcPts val="0"/>
              </a:spcBef>
              <a:spcAft>
                <a:spcPts val="600"/>
              </a:spcAft>
              <a:buClr>
                <a:schemeClr val="accent2"/>
              </a:buClr>
              <a:buSzTx/>
              <a:buFont typeface="Wingdings" panose="05000000000000000000" pitchFamily="2" charset="2"/>
              <a:buChar char="Ø"/>
              <a:tabLst/>
              <a:defRPr/>
            </a:pPr>
            <a:r>
              <a:rPr kumimoji="0" lang="de-CH" sz="1200" i="0" u="none" strike="noStrike" kern="1200" cap="none" spc="0" normalizeH="0" baseline="0" noProof="0" dirty="0" err="1">
                <a:ln>
                  <a:noFill/>
                </a:ln>
                <a:solidFill>
                  <a:schemeClr val="bg1">
                    <a:lumMod val="50000"/>
                  </a:schemeClr>
                </a:solidFill>
                <a:effectLst/>
                <a:uLnTx/>
                <a:uFillTx/>
                <a:latin typeface="HelveticaNeueLT Com 55 Roman"/>
                <a:ea typeface="MS PGothic" panose="020B0600070205080204" pitchFamily="34" charset="-128"/>
                <a:cs typeface="Segoe UI" panose="020B0502040204020203" pitchFamily="34" charset="0"/>
              </a:rPr>
              <a:t>Spes</a:t>
            </a:r>
            <a:r>
              <a:rPr lang="de-CH" sz="1200" dirty="0" err="1">
                <a:solidFill>
                  <a:schemeClr val="bg1">
                    <a:lumMod val="50000"/>
                  </a:schemeClr>
                </a:solidFill>
                <a:latin typeface="HelveticaNeueLT Com 55 Roman"/>
              </a:rPr>
              <a:t>enmanagement</a:t>
            </a:r>
            <a:r>
              <a:rPr lang="de-CH" sz="1200" dirty="0">
                <a:solidFill>
                  <a:schemeClr val="bg1">
                    <a:lumMod val="50000"/>
                  </a:schemeClr>
                </a:solidFill>
                <a:latin typeface="HelveticaNeueLT Com 55 Roman"/>
              </a:rPr>
              <a:t> mit Beleg-erfassung</a:t>
            </a:r>
            <a:br>
              <a:rPr kumimoji="0" lang="de-CH" sz="1200"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b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b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rPr>
              <a:t>.</a:t>
            </a:r>
          </a:p>
        </p:txBody>
      </p:sp>
      <p:pic>
        <p:nvPicPr>
          <p:cNvPr id="15" name="Grafik 14">
            <a:extLst>
              <a:ext uri="{FF2B5EF4-FFF2-40B4-BE49-F238E27FC236}">
                <a16:creationId xmlns:a16="http://schemas.microsoft.com/office/drawing/2014/main" id="{41DD8D13-CEFB-40BA-95CD-71ECB62CBC7E}"/>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85426007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kt 5" hidden="1">
            <a:extLst>
              <a:ext uri="{FF2B5EF4-FFF2-40B4-BE49-F238E27FC236}">
                <a16:creationId xmlns:a16="http://schemas.microsoft.com/office/drawing/2014/main" id="{4F0B7DF5-3B2F-4F83-9A47-E79023383AD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360" imgH="360" progId="TCLayout.ActiveDocument.1">
                  <p:embed/>
                </p:oleObj>
              </mc:Choice>
              <mc:Fallback>
                <p:oleObj name="think-cell Folie" r:id="rId3" imgW="360" imgH="360" progId="TCLayout.ActiveDocument.1">
                  <p:embed/>
                  <p:pic>
                    <p:nvPicPr>
                      <p:cNvPr id="6" name="Objekt 5" hidden="1">
                        <a:extLst>
                          <a:ext uri="{FF2B5EF4-FFF2-40B4-BE49-F238E27FC236}">
                            <a16:creationId xmlns:a16="http://schemas.microsoft.com/office/drawing/2014/main" id="{4F0B7DF5-3B2F-4F83-9A47-E79023383AD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3" name="Rechteck 2">
            <a:extLst>
              <a:ext uri="{FF2B5EF4-FFF2-40B4-BE49-F238E27FC236}">
                <a16:creationId xmlns:a16="http://schemas.microsoft.com/office/drawing/2014/main" id="{26E25B91-39E6-434C-8598-0991E4B381B4}"/>
              </a:ext>
            </a:extLst>
          </p:cNvPr>
          <p:cNvSpPr/>
          <p:nvPr/>
        </p:nvSpPr>
        <p:spPr>
          <a:xfrm>
            <a:off x="2506269" y="18448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8" name="Rechteck 37">
            <a:extLst>
              <a:ext uri="{FF2B5EF4-FFF2-40B4-BE49-F238E27FC236}">
                <a16:creationId xmlns:a16="http://schemas.microsoft.com/office/drawing/2014/main" id="{76A82216-D25E-407A-BC16-2E82685B4B54}"/>
              </a:ext>
            </a:extLst>
          </p:cNvPr>
          <p:cNvSpPr/>
          <p:nvPr/>
        </p:nvSpPr>
        <p:spPr>
          <a:xfrm>
            <a:off x="5734850" y="1840951"/>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39" name="Rechteck 38">
            <a:extLst>
              <a:ext uri="{FF2B5EF4-FFF2-40B4-BE49-F238E27FC236}">
                <a16:creationId xmlns:a16="http://schemas.microsoft.com/office/drawing/2014/main" id="{568EC621-3E19-4470-ABD5-4AD09B7417C5}"/>
              </a:ext>
            </a:extLst>
          </p:cNvPr>
          <p:cNvSpPr/>
          <p:nvPr/>
        </p:nvSpPr>
        <p:spPr>
          <a:xfrm>
            <a:off x="8963431" y="1822424"/>
            <a:ext cx="2783707" cy="4253522"/>
          </a:xfrm>
          <a:prstGeom prst="rect">
            <a:avLst/>
          </a:pr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endParaRPr kumimoji="0" lang="de-CH" sz="1600" b="0" i="0" u="none" strike="noStrike" kern="1200" cap="none" spc="0" normalizeH="0" baseline="0" noProof="0" err="1">
              <a:ln>
                <a:noFill/>
              </a:ln>
              <a:solidFill>
                <a:srgbClr val="868689"/>
              </a:solidFill>
              <a:effectLst/>
              <a:uLnTx/>
              <a:uFillTx/>
              <a:latin typeface="HelveticaNeueLT Com 55 Roman"/>
              <a:ea typeface="+mn-ea"/>
              <a:cs typeface="+mn-cs"/>
            </a:endParaRPr>
          </a:p>
        </p:txBody>
      </p:sp>
      <p:sp>
        <p:nvSpPr>
          <p:cNvPr id="2" name="Titel 1">
            <a:extLst>
              <a:ext uri="{FF2B5EF4-FFF2-40B4-BE49-F238E27FC236}">
                <a16:creationId xmlns:a16="http://schemas.microsoft.com/office/drawing/2014/main" id="{0297B270-C359-4ADB-88AF-8B9FE31B115A}"/>
              </a:ext>
            </a:extLst>
          </p:cNvPr>
          <p:cNvSpPr>
            <a:spLocks noGrp="1"/>
          </p:cNvSpPr>
          <p:nvPr>
            <p:ph type="title"/>
          </p:nvPr>
        </p:nvSpPr>
        <p:spPr>
          <a:xfrm>
            <a:off x="479376" y="476672"/>
            <a:ext cx="11233248" cy="1008112"/>
          </a:xfrm>
        </p:spPr>
        <p:txBody>
          <a:bodyPr vert="horz"/>
          <a:lstStyle/>
          <a:p>
            <a:r>
              <a:rPr lang="de-CH" dirty="0"/>
              <a:t>EARN – </a:t>
            </a:r>
            <a:r>
              <a:rPr lang="de-CH" dirty="0" err="1"/>
              <a:t>Cashback</a:t>
            </a:r>
            <a:r>
              <a:rPr lang="de-CH" dirty="0"/>
              <a:t> Guthaben auf Ihren Fremdwährungen</a:t>
            </a:r>
            <a:br>
              <a:rPr lang="de-CH" dirty="0"/>
            </a:br>
            <a:r>
              <a:rPr lang="de-CH" sz="1900" b="0" noProof="1">
                <a:solidFill>
                  <a:srgbClr val="28828B"/>
                </a:solidFill>
                <a:latin typeface="Corona LT" panose="02000604020000090004" pitchFamily="2" charset="0"/>
              </a:rPr>
              <a:t>amnis Leistungen für Sie</a:t>
            </a:r>
            <a:endParaRPr lang="de-CH" sz="1900" dirty="0"/>
          </a:p>
        </p:txBody>
      </p:sp>
      <p:sp>
        <p:nvSpPr>
          <p:cNvPr id="13" name="Textfeld 12">
            <a:extLst>
              <a:ext uri="{FF2B5EF4-FFF2-40B4-BE49-F238E27FC236}">
                <a16:creationId xmlns:a16="http://schemas.microsoft.com/office/drawing/2014/main" id="{CA8933B7-F876-42AF-8F0E-DE730AC7070F}"/>
              </a:ext>
            </a:extLst>
          </p:cNvPr>
          <p:cNvSpPr txBox="1"/>
          <p:nvPr/>
        </p:nvSpPr>
        <p:spPr bwMode="auto">
          <a:xfrm>
            <a:off x="479376" y="1462385"/>
            <a:ext cx="1728192" cy="3600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none" lIns="0" tIns="0" rIns="0" bIns="0" numCol="1" rtlCol="0" anchor="t" anchorCtr="0" compatLnSpc="1">
            <a:prstTxWarp prst="textNoShape">
              <a:avLst/>
            </a:prstTxWarp>
            <a:noAutofit/>
          </a:bodyPr>
          <a:lstStyle/>
          <a:p>
            <a:pPr marL="0" marR="0" lvl="0" indent="0" algn="l" defTabSz="914400" rtl="0" eaLnBrk="1" fontAlgn="auto" latinLnBrk="0" hangingPunct="1">
              <a:lnSpc>
                <a:spcPct val="100000"/>
              </a:lnSpc>
              <a:spcBef>
                <a:spcPts val="0"/>
              </a:spcBef>
              <a:spcAft>
                <a:spcPts val="800"/>
              </a:spcAft>
              <a:buClrTx/>
              <a:buSzTx/>
              <a:buFontTx/>
              <a:buNone/>
              <a:tabLst/>
              <a:defRPr/>
            </a:pPr>
            <a:r>
              <a:rPr kumimoji="0" lang="de-CH" sz="1800" b="1" i="0" u="none" strike="noStrike" kern="1200" cap="none" spc="0" normalizeH="0" baseline="0" noProof="0" dirty="0">
                <a:ln>
                  <a:noFill/>
                </a:ln>
                <a:solidFill>
                  <a:srgbClr val="28828B"/>
                </a:solidFill>
                <a:effectLst/>
                <a:uLnTx/>
                <a:uFillTx/>
                <a:latin typeface="HelveticaNeueLT Com 55 Roman"/>
                <a:ea typeface="+mn-ea"/>
                <a:cs typeface="+mn-cs"/>
              </a:rPr>
              <a:t>EARN</a:t>
            </a:r>
          </a:p>
        </p:txBody>
      </p:sp>
      <p:sp>
        <p:nvSpPr>
          <p:cNvPr id="839" name="Freeform 2">
            <a:extLst>
              <a:ext uri="{FF2B5EF4-FFF2-40B4-BE49-F238E27FC236}">
                <a16:creationId xmlns:a16="http://schemas.microsoft.com/office/drawing/2014/main" id="{210519CB-FB9B-453F-9E19-245C402347B2}"/>
              </a:ext>
            </a:extLst>
          </p:cNvPr>
          <p:cNvSpPr>
            <a:spLocks noChangeArrowheads="1"/>
          </p:cNvSpPr>
          <p:nvPr/>
        </p:nvSpPr>
        <p:spPr bwMode="auto">
          <a:xfrm>
            <a:off x="479376" y="1822425"/>
            <a:ext cx="1728192" cy="4272048"/>
          </a:xfrm>
          <a:custGeom>
            <a:avLst/>
            <a:gdLst>
              <a:gd name="T0" fmla="*/ 0 w 3679"/>
              <a:gd name="T1" fmla="*/ 0 h 3653"/>
              <a:gd name="T2" fmla="*/ 3678 w 3679"/>
              <a:gd name="T3" fmla="*/ 0 h 3653"/>
              <a:gd name="T4" fmla="*/ 3678 w 3679"/>
              <a:gd name="T5" fmla="*/ 3652 h 3653"/>
              <a:gd name="T6" fmla="*/ 0 w 3679"/>
              <a:gd name="T7" fmla="*/ 3652 h 3653"/>
              <a:gd name="T8" fmla="*/ 0 w 3679"/>
              <a:gd name="T9" fmla="*/ 0 h 3653"/>
            </a:gdLst>
            <a:ahLst/>
            <a:cxnLst>
              <a:cxn ang="0">
                <a:pos x="T0" y="T1"/>
              </a:cxn>
              <a:cxn ang="0">
                <a:pos x="T2" y="T3"/>
              </a:cxn>
              <a:cxn ang="0">
                <a:pos x="T4" y="T5"/>
              </a:cxn>
              <a:cxn ang="0">
                <a:pos x="T6" y="T7"/>
              </a:cxn>
              <a:cxn ang="0">
                <a:pos x="T8" y="T9"/>
              </a:cxn>
            </a:cxnLst>
            <a:rect l="0" t="0" r="r" b="b"/>
            <a:pathLst>
              <a:path w="3679" h="3653">
                <a:moveTo>
                  <a:pt x="0" y="0"/>
                </a:moveTo>
                <a:lnTo>
                  <a:pt x="3678" y="0"/>
                </a:lnTo>
                <a:lnTo>
                  <a:pt x="3678" y="3652"/>
                </a:lnTo>
                <a:lnTo>
                  <a:pt x="0" y="3652"/>
                </a:lnTo>
                <a:lnTo>
                  <a:pt x="0" y="0"/>
                </a:lnTo>
              </a:path>
            </a:pathLst>
          </a:custGeom>
          <a:solidFill>
            <a:srgbClr val="28828B"/>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360000" rIns="121920" bIns="6096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20000"/>
              </a:lnSpc>
              <a:spcBef>
                <a:spcPts val="0"/>
              </a:spcBef>
              <a:spcAft>
                <a:spcPts val="0"/>
              </a:spcAft>
              <a:buClrTx/>
              <a:buSzTx/>
              <a:buFontTx/>
              <a:buNone/>
              <a:tabLst/>
              <a:defRPr/>
            </a:pPr>
            <a:r>
              <a:rPr kumimoji="0" lang="de-CH" altLang="de-DE" sz="1800" b="1" i="0" u="none" strike="noStrike" kern="1200" cap="none" spc="0" normalizeH="0" baseline="0" noProof="0" dirty="0">
                <a:ln>
                  <a:noFill/>
                </a:ln>
                <a:solidFill>
                  <a:srgbClr val="FFFFFF"/>
                </a:solidFill>
                <a:effectLst/>
                <a:uLnTx/>
                <a:uFillTx/>
                <a:latin typeface="HelveticaNeueLT Pro 55 Roman" pitchFamily="34" charset="0"/>
                <a:ea typeface="+mn-ea"/>
                <a:cs typeface="+mn-cs"/>
                <a:sym typeface="Lato" charset="0"/>
              </a:rPr>
              <a:t>Erträge auf Ihren Fremd-währungs-Guthaben</a:t>
            </a:r>
          </a:p>
        </p:txBody>
      </p:sp>
      <p:sp>
        <p:nvSpPr>
          <p:cNvPr id="32" name="Inhaltsplatzhalter 5">
            <a:extLst>
              <a:ext uri="{FF2B5EF4-FFF2-40B4-BE49-F238E27FC236}">
                <a16:creationId xmlns:a16="http://schemas.microsoft.com/office/drawing/2014/main" id="{0922BF43-7724-42CC-BEA9-1377077E5119}"/>
              </a:ext>
            </a:extLst>
          </p:cNvPr>
          <p:cNvSpPr txBox="1">
            <a:spLocks/>
          </p:cNvSpPr>
          <p:nvPr/>
        </p:nvSpPr>
        <p:spPr>
          <a:xfrm>
            <a:off x="2538330" y="1837047"/>
            <a:ext cx="2711699" cy="2053279"/>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Guthaben </a:t>
            </a:r>
            <a:r>
              <a:rPr kumimoji="0" lang="de-CH" sz="1600" b="1" i="0" u="none" strike="noStrike" kern="1200" cap="none" spc="0" normalizeH="0" baseline="0" noProof="0" dirty="0" err="1">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Cashback</a:t>
            </a:r>
            <a:r>
              <a:rPr kumimoji="0" lang="de-CH" sz="1600" b="1" i="0" u="none" strike="noStrike" kern="1200" cap="none" spc="0" normalizeH="0" baseline="0" noProof="0" dirty="0">
                <a:ln>
                  <a:noFill/>
                </a:ln>
                <a:solidFill>
                  <a:srgbClr val="28828B"/>
                </a:solidFill>
                <a:effectLst/>
                <a:uLnTx/>
                <a:uFillTx/>
                <a:latin typeface="HelveticaNeueLT Com 55 Roman"/>
                <a:ea typeface="MS PGothic" panose="020B0600070205080204" pitchFamily="34" charset="-128"/>
                <a:cs typeface="Segoe UI" panose="020B0502040204020203" pitchFamily="34" charset="0"/>
              </a:rPr>
              <a:t>» auf Ihre konkursgeschützten Zahlungskonten</a:t>
            </a: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a:p>
            <a:pPr marL="171450" marR="0" lvl="0" indent="-171450" algn="l" defTabSz="1035025" rtl="0" eaLnBrk="1" fontAlgn="base" latinLnBrk="0" hangingPunct="1">
              <a:lnSpc>
                <a:spcPct val="100000"/>
              </a:lnSpc>
              <a:spcBef>
                <a:spcPts val="0"/>
              </a:spcBef>
              <a:spcAft>
                <a:spcPts val="600"/>
              </a:spcAft>
              <a:buClr>
                <a:srgbClr val="28828B"/>
              </a:buClr>
              <a:buSzTx/>
              <a:buFont typeface="Wingdings" panose="05000000000000000000" pitchFamily="2" charset="2"/>
              <a:buChar char="Ø"/>
              <a:tabLst/>
              <a:defRPr/>
            </a:pPr>
            <a:r>
              <a:rPr lang="de-DE" sz="1200" b="0" i="0" dirty="0">
                <a:solidFill>
                  <a:schemeClr val="bg1">
                    <a:lumMod val="50000"/>
                  </a:schemeClr>
                </a:solidFill>
                <a:effectLst/>
              </a:rPr>
              <a:t>Während Ihr Geld in konkurs-geschützten Treuhand-Sammel-konten nach höchsten Standards gehalten wird, erhalten Sie bei </a:t>
            </a:r>
            <a:r>
              <a:rPr lang="de-DE" sz="1200" b="0" i="0" dirty="0" err="1">
                <a:solidFill>
                  <a:schemeClr val="bg1">
                    <a:lumMod val="50000"/>
                  </a:schemeClr>
                </a:solidFill>
                <a:effectLst/>
              </a:rPr>
              <a:t>amnis</a:t>
            </a:r>
            <a:r>
              <a:rPr lang="de-DE" sz="1200" b="0" i="0" dirty="0">
                <a:solidFill>
                  <a:schemeClr val="bg1">
                    <a:lumMod val="50000"/>
                  </a:schemeClr>
                </a:solidFill>
                <a:effectLst/>
              </a:rPr>
              <a:t> auch </a:t>
            </a:r>
            <a:r>
              <a:rPr lang="de-DE" sz="1200" b="1" i="0" dirty="0">
                <a:solidFill>
                  <a:schemeClr val="accent2"/>
                </a:solidFill>
                <a:effectLst/>
              </a:rPr>
              <a:t>attraktive Zinsen auf Ihr Geschäftskonto</a:t>
            </a:r>
            <a:r>
              <a:rPr lang="de-DE" sz="1200" b="0" i="0" dirty="0">
                <a:solidFill>
                  <a:schemeClr val="bg1">
                    <a:lumMod val="50000"/>
                  </a:schemeClr>
                </a:solidFill>
                <a:effectLst/>
              </a:rPr>
              <a:t>. Als einer der wenigen Anbieter leiten wir Zinsen auch auf Fremdwährungskonten weiter, so dass Sie Ihr </a:t>
            </a:r>
            <a:r>
              <a:rPr lang="de-DE" sz="1200" b="0" i="0" dirty="0" err="1">
                <a:solidFill>
                  <a:schemeClr val="bg1">
                    <a:lumMod val="50000"/>
                  </a:schemeClr>
                </a:solidFill>
                <a:effectLst/>
              </a:rPr>
              <a:t>Cashback</a:t>
            </a:r>
            <a:r>
              <a:rPr lang="de-DE" sz="1200" b="0" i="0" dirty="0">
                <a:solidFill>
                  <a:schemeClr val="bg1">
                    <a:lumMod val="50000"/>
                  </a:schemeClr>
                </a:solidFill>
                <a:effectLst/>
              </a:rPr>
              <a:t> nicht nur in Ihrer Landeswährung erhalten.</a:t>
            </a:r>
            <a:endParaRPr kumimoji="0" lang="de-CH" sz="1200" b="0" i="0" u="none" strike="noStrike" kern="1200" cap="none" spc="0" normalizeH="0" baseline="0" noProof="0" dirty="0">
              <a:ln>
                <a:noFill/>
              </a:ln>
              <a:solidFill>
                <a:schemeClr val="bg1">
                  <a:lumMod val="50000"/>
                </a:schemeClr>
              </a:solidFill>
              <a:effectLst/>
              <a:uLnTx/>
              <a:uFillTx/>
              <a:ea typeface="MS PGothic" panose="020B0600070205080204" pitchFamily="34" charset="-128"/>
              <a:cs typeface="Segoe UI" panose="020B0502040204020203" pitchFamily="34" charset="0"/>
            </a:endParaRPr>
          </a:p>
        </p:txBody>
      </p:sp>
      <p:sp>
        <p:nvSpPr>
          <p:cNvPr id="34" name="Inhaltsplatzhalter 5">
            <a:extLst>
              <a:ext uri="{FF2B5EF4-FFF2-40B4-BE49-F238E27FC236}">
                <a16:creationId xmlns:a16="http://schemas.microsoft.com/office/drawing/2014/main" id="{B4B8B9BF-CAB5-4257-83E7-9145B379918E}"/>
              </a:ext>
            </a:extLst>
          </p:cNvPr>
          <p:cNvSpPr txBox="1">
            <a:spLocks/>
          </p:cNvSpPr>
          <p:nvPr/>
        </p:nvSpPr>
        <p:spPr>
          <a:xfrm>
            <a:off x="5738567" y="1857779"/>
            <a:ext cx="2783707" cy="3586580"/>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DE" sz="1200" b="0" i="0" dirty="0" err="1">
                <a:solidFill>
                  <a:schemeClr val="bg1">
                    <a:lumMod val="50000"/>
                  </a:schemeClr>
                </a:solidFill>
                <a:effectLst/>
                <a:latin typeface="HelveticaNeueLT Com 55 Roman" panose="020B0604020202020204" pitchFamily="34" charset="0"/>
              </a:rPr>
              <a:t>Amnis</a:t>
            </a:r>
            <a:r>
              <a:rPr lang="de-DE" sz="1200" b="0" i="0" dirty="0">
                <a:solidFill>
                  <a:schemeClr val="bg1">
                    <a:lumMod val="50000"/>
                  </a:schemeClr>
                </a:solidFill>
                <a:effectLst/>
                <a:latin typeface="HelveticaNeueLT Com 55 Roman" panose="020B0604020202020204" pitchFamily="34" charset="0"/>
              </a:rPr>
              <a:t> leitet die Zinsen jeden Monat basierend auf den EUR, USD, GBP und CZK Guthaben in Ihren </a:t>
            </a:r>
            <a:r>
              <a:rPr lang="de-DE" sz="1200" b="0" i="0" dirty="0" err="1">
                <a:solidFill>
                  <a:schemeClr val="bg1">
                    <a:lumMod val="50000"/>
                  </a:schemeClr>
                </a:solidFill>
                <a:effectLst/>
                <a:latin typeface="HelveticaNeueLT Com 55 Roman" panose="020B0604020202020204" pitchFamily="34" charset="0"/>
              </a:rPr>
              <a:t>amnis</a:t>
            </a:r>
            <a:r>
              <a:rPr lang="de-DE" sz="1200" b="0" i="0" dirty="0">
                <a:solidFill>
                  <a:schemeClr val="bg1">
                    <a:lumMod val="50000"/>
                  </a:schemeClr>
                </a:solidFill>
                <a:effectLst/>
                <a:latin typeface="HelveticaNeueLT Com 55 Roman" panose="020B0604020202020204" pitchFamily="34" charset="0"/>
              </a:rPr>
              <a:t> Konten in den ersten 10 Tagen des nächsten Monats weiter.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DE" sz="1200" b="0" i="0" dirty="0">
                <a:solidFill>
                  <a:schemeClr val="bg1">
                    <a:lumMod val="50000"/>
                  </a:schemeClr>
                </a:solidFill>
                <a:effectLst/>
                <a:latin typeface="HelveticaNeueLT Com 55 Roman" panose="020B0604020202020204" pitchFamily="34" charset="0"/>
              </a:rPr>
              <a:t>Die Zinsen werden nach der </a:t>
            </a:r>
            <a:br>
              <a:rPr lang="de-DE" sz="1200" dirty="0">
                <a:solidFill>
                  <a:schemeClr val="bg1">
                    <a:lumMod val="50000"/>
                  </a:schemeClr>
                </a:solidFill>
                <a:latin typeface="HelveticaNeueLT Com 55 Roman" panose="020B0604020202020204" pitchFamily="34" charset="0"/>
              </a:rPr>
            </a:br>
            <a:r>
              <a:rPr lang="de-DE" sz="1200" b="0" i="0" dirty="0" err="1">
                <a:solidFill>
                  <a:schemeClr val="bg1">
                    <a:lumMod val="50000"/>
                  </a:schemeClr>
                </a:solidFill>
                <a:effectLst/>
                <a:latin typeface="HelveticaNeueLT Com 55 Roman" panose="020B0604020202020204" pitchFamily="34" charset="0"/>
              </a:rPr>
              <a:t>act</a:t>
            </a:r>
            <a:r>
              <a:rPr lang="de-DE" sz="1200" b="0" i="0" dirty="0">
                <a:solidFill>
                  <a:schemeClr val="bg1">
                    <a:lumMod val="50000"/>
                  </a:schemeClr>
                </a:solidFill>
                <a:effectLst/>
                <a:latin typeface="HelveticaNeueLT Com 55 Roman" panose="020B0604020202020204" pitchFamily="34" charset="0"/>
              </a:rPr>
              <a:t>/360-Zinsmethode berechnet.</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DE" sz="1200" b="0" i="0" dirty="0">
                <a:solidFill>
                  <a:schemeClr val="bg1">
                    <a:lumMod val="50000"/>
                  </a:schemeClr>
                </a:solidFill>
                <a:effectLst/>
                <a:latin typeface="HelveticaNeueLT Com 55 Roman" panose="020B0604020202020204" pitchFamily="34" charset="0"/>
              </a:rPr>
              <a:t>Der </a:t>
            </a:r>
            <a:r>
              <a:rPr lang="de-DE" sz="1200" b="0" i="0" dirty="0" err="1">
                <a:solidFill>
                  <a:schemeClr val="bg1">
                    <a:lumMod val="50000"/>
                  </a:schemeClr>
                </a:solidFill>
                <a:effectLst/>
                <a:latin typeface="HelveticaNeueLT Com 55 Roman" panose="020B0604020202020204" pitchFamily="34" charset="0"/>
              </a:rPr>
              <a:t>Cashback</a:t>
            </a:r>
            <a:r>
              <a:rPr lang="de-DE" sz="1200" b="0" i="0" dirty="0">
                <a:solidFill>
                  <a:schemeClr val="bg1">
                    <a:lumMod val="50000"/>
                  </a:schemeClr>
                </a:solidFill>
                <a:effectLst/>
                <a:latin typeface="HelveticaNeueLT Com 55 Roman" panose="020B0604020202020204" pitchFamily="34" charset="0"/>
              </a:rPr>
              <a:t>-Zinssatz ist variabel und wird monatlich auf der </a:t>
            </a:r>
            <a:r>
              <a:rPr lang="de-DE" sz="1200" b="0" i="0" dirty="0" err="1">
                <a:solidFill>
                  <a:schemeClr val="bg1">
                    <a:lumMod val="50000"/>
                  </a:schemeClr>
                </a:solidFill>
                <a:effectLst/>
                <a:latin typeface="HelveticaNeueLT Com 55 Roman" panose="020B0604020202020204" pitchFamily="34" charset="0"/>
              </a:rPr>
              <a:t>amnis</a:t>
            </a:r>
            <a:r>
              <a:rPr lang="de-DE" sz="1200" b="0" i="0" dirty="0">
                <a:solidFill>
                  <a:schemeClr val="bg1">
                    <a:lumMod val="50000"/>
                  </a:schemeClr>
                </a:solidFill>
                <a:effectLst/>
                <a:latin typeface="HelveticaNeueLT Com 55 Roman" panose="020B0604020202020204" pitchFamily="34" charset="0"/>
              </a:rPr>
              <a:t> Webseite publiziert. </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DE" sz="1200" b="0" i="0" dirty="0">
                <a:solidFill>
                  <a:schemeClr val="bg1">
                    <a:lumMod val="50000"/>
                  </a:schemeClr>
                </a:solidFill>
                <a:effectLst/>
                <a:latin typeface="HelveticaNeueLT Com 55 Roman" panose="020B0604020202020204" pitchFamily="34" charset="0"/>
              </a:rPr>
              <a:t>Bitte beachten Sie, dass wir uns das Recht vorbehalten, den Zinssatz zu ändern oder die </a:t>
            </a:r>
            <a:r>
              <a:rPr lang="de-DE" sz="1200" b="0" i="0" dirty="0" err="1">
                <a:solidFill>
                  <a:schemeClr val="bg1">
                    <a:lumMod val="50000"/>
                  </a:schemeClr>
                </a:solidFill>
                <a:effectLst/>
                <a:latin typeface="HelveticaNeueLT Com 55 Roman" panose="020B0604020202020204" pitchFamily="34" charset="0"/>
              </a:rPr>
              <a:t>Cashback</a:t>
            </a:r>
            <a:r>
              <a:rPr lang="de-DE" sz="1200" b="0" i="0" dirty="0">
                <a:solidFill>
                  <a:schemeClr val="bg1">
                    <a:lumMod val="50000"/>
                  </a:schemeClr>
                </a:solidFill>
                <a:effectLst/>
                <a:latin typeface="HelveticaNeueLT Com 55 Roman" panose="020B0604020202020204" pitchFamily="34" charset="0"/>
              </a:rPr>
              <a:t>-Zahlungen jederzeit einzustellen. Es gibt keinen Mindestbetrag oder Limit; daher leiten wir </a:t>
            </a:r>
            <a:r>
              <a:rPr lang="de-DE" sz="1200" b="1" i="0" dirty="0">
                <a:solidFill>
                  <a:schemeClr val="accent2"/>
                </a:solidFill>
                <a:effectLst/>
                <a:latin typeface="HelveticaNeueLT Com 55 Roman" panose="020B0604020202020204" pitchFamily="34" charset="0"/>
              </a:rPr>
              <a:t>Zinsen für den gesamten Betrag in Ihrem </a:t>
            </a:r>
            <a:r>
              <a:rPr lang="de-DE" sz="1200" b="1" i="0" dirty="0" err="1">
                <a:solidFill>
                  <a:schemeClr val="accent2"/>
                </a:solidFill>
                <a:effectLst/>
                <a:latin typeface="HelveticaNeueLT Com 55 Roman" panose="020B0604020202020204" pitchFamily="34" charset="0"/>
              </a:rPr>
              <a:t>amnis</a:t>
            </a:r>
            <a:r>
              <a:rPr lang="de-DE" sz="1200" b="1" i="0" dirty="0">
                <a:solidFill>
                  <a:schemeClr val="accent2"/>
                </a:solidFill>
                <a:effectLst/>
                <a:latin typeface="HelveticaNeueLT Com 55 Roman" panose="020B0604020202020204" pitchFamily="34" charset="0"/>
              </a:rPr>
              <a:t> Konto</a:t>
            </a:r>
            <a:r>
              <a:rPr lang="de-DE" sz="1200" b="0" i="0" dirty="0">
                <a:solidFill>
                  <a:schemeClr val="bg1">
                    <a:lumMod val="50000"/>
                  </a:schemeClr>
                </a:solidFill>
                <a:effectLst/>
                <a:latin typeface="HelveticaNeueLT Com 55 Roman" panose="020B0604020202020204" pitchFamily="34" charset="0"/>
              </a:rPr>
              <a:t> weiter.</a:t>
            </a:r>
            <a:endParaRPr kumimoji="0" lang="de-CH" sz="1200" b="1" i="0" u="none" strike="noStrike" kern="1200" cap="none" spc="0" normalizeH="0" baseline="0" noProof="0" dirty="0">
              <a:ln>
                <a:noFill/>
              </a:ln>
              <a:solidFill>
                <a:schemeClr val="bg1">
                  <a:lumMod val="50000"/>
                </a:schemeClr>
              </a:solidFill>
              <a:effectLst/>
              <a:uLnTx/>
              <a:uFillTx/>
              <a:latin typeface="HelveticaNeueLT Com 55 Roman" panose="020B0604020202020204" pitchFamily="34" charset="0"/>
            </a:endParaRPr>
          </a:p>
        </p:txBody>
      </p:sp>
      <p:sp>
        <p:nvSpPr>
          <p:cNvPr id="14" name="Inhaltsplatzhalter 5">
            <a:extLst>
              <a:ext uri="{FF2B5EF4-FFF2-40B4-BE49-F238E27FC236}">
                <a16:creationId xmlns:a16="http://schemas.microsoft.com/office/drawing/2014/main" id="{B04045DC-D333-4FF0-87B9-52B92674C8AE}"/>
              </a:ext>
            </a:extLst>
          </p:cNvPr>
          <p:cNvSpPr txBox="1">
            <a:spLocks/>
          </p:cNvSpPr>
          <p:nvPr/>
        </p:nvSpPr>
        <p:spPr>
          <a:xfrm>
            <a:off x="8977740" y="1838357"/>
            <a:ext cx="2783707" cy="3155397"/>
          </a:xfrm>
          <a:prstGeom prst="rect">
            <a:avLst/>
          </a:prstGeom>
        </p:spPr>
        <p:txBody>
          <a:bodyPr>
            <a:noAutofit/>
          </a:bodyPr>
          <a:lstStyle>
            <a:lvl1pPr marL="0" indent="0" algn="l" defTabSz="1035025" rtl="0" eaLnBrk="1" fontAlgn="base" hangingPunct="1">
              <a:lnSpc>
                <a:spcPct val="100000"/>
              </a:lnSpc>
              <a:spcBef>
                <a:spcPts val="0"/>
              </a:spcBef>
              <a:spcAft>
                <a:spcPts val="600"/>
              </a:spcAft>
              <a:buClr>
                <a:schemeClr val="accent1"/>
              </a:buClr>
              <a:buFont typeface="Arial" panose="020B0604020202020204" pitchFamily="34" charset="0"/>
              <a:buNone/>
              <a:defRPr sz="1800" b="0" i="0" kern="1200">
                <a:solidFill>
                  <a:schemeClr val="tx2"/>
                </a:solidFill>
                <a:latin typeface="+mj-lt"/>
                <a:ea typeface="MS PGothic" panose="020B0600070205080204" pitchFamily="34" charset="-128"/>
                <a:cs typeface="Segoe UI" panose="020B0502040204020203" pitchFamily="34" charset="0"/>
              </a:defRPr>
            </a:lvl1pPr>
            <a:lvl2pPr marL="271463" indent="-271463"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2pPr>
            <a:lvl3pPr marL="53975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3pPr>
            <a:lvl4pPr marL="809625" indent="-269875" algn="l" defTabSz="1035025" rtl="0" eaLnBrk="1" fontAlgn="base" hangingPunct="1">
              <a:lnSpc>
                <a:spcPct val="100000"/>
              </a:lnSpc>
              <a:spcBef>
                <a:spcPts val="0"/>
              </a:spcBef>
              <a:spcAft>
                <a:spcPts val="600"/>
              </a:spcAft>
              <a:buClrTx/>
              <a:buFont typeface="Arial" panose="020B0604020202020204" pitchFamily="34" charset="0"/>
              <a:buChar char="•"/>
              <a:tabLst>
                <a:tab pos="539750" algn="l"/>
              </a:tabLst>
              <a:defRPr sz="1800" b="0" i="0" kern="1200">
                <a:solidFill>
                  <a:schemeClr val="tx2"/>
                </a:solidFill>
                <a:latin typeface="+mj-lt"/>
                <a:ea typeface="MS PGothic" panose="020B0600070205080204" pitchFamily="34" charset="-128"/>
                <a:cs typeface="Segoe UI" panose="020B0502040204020203" pitchFamily="34" charset="0"/>
              </a:defRPr>
            </a:lvl4pPr>
            <a:lvl5pPr marL="1079500" indent="-269875" algn="l" defTabSz="1035025" rtl="0" eaLnBrk="1" fontAlgn="base" hangingPunct="1">
              <a:lnSpc>
                <a:spcPct val="100000"/>
              </a:lnSpc>
              <a:spcBef>
                <a:spcPts val="0"/>
              </a:spcBef>
              <a:spcAft>
                <a:spcPts val="600"/>
              </a:spcAft>
              <a:buClrTx/>
              <a:buFont typeface="Arial" panose="020B0604020202020204" pitchFamily="34" charset="0"/>
              <a:buChar char="•"/>
              <a:defRPr sz="1800" b="0" i="0" kern="1200">
                <a:solidFill>
                  <a:schemeClr val="tx2"/>
                </a:solidFill>
                <a:latin typeface="+mj-lt"/>
                <a:ea typeface="MS PGothic" panose="020B0600070205080204" pitchFamily="34" charset="-128"/>
                <a:cs typeface="Segoe UI" panose="020B0502040204020203" pitchFamily="34" charset="0"/>
              </a:defRPr>
            </a:lvl5pPr>
            <a:lvl6pPr marL="2857023"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6pPr>
            <a:lvl7pPr marL="3376482"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7pPr>
            <a:lvl8pPr marL="3895941"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8pPr>
            <a:lvl9pPr marL="4415400" indent="-259730" algn="l" defTabSz="1038917" rtl="0" eaLnBrk="1" latinLnBrk="0" hangingPunct="1">
              <a:spcBef>
                <a:spcPct val="20000"/>
              </a:spcBef>
              <a:buFont typeface="Arial" pitchFamily="34" charset="0"/>
              <a:buChar char="•"/>
              <a:defRPr sz="2267" kern="1200">
                <a:solidFill>
                  <a:schemeClr val="tx1"/>
                </a:solidFill>
                <a:latin typeface="+mn-lt"/>
                <a:ea typeface="+mn-ea"/>
                <a:cs typeface="+mn-cs"/>
              </a:defRPr>
            </a:lvl9pPr>
          </a:lstStyle>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400" dirty="0">
                <a:solidFill>
                  <a:srgbClr val="919194"/>
                </a:solidFill>
                <a:latin typeface="HelveticaNeueLT Com 55 Roman"/>
              </a:rPr>
              <a:t>Wieviel Erträge als </a:t>
            </a:r>
            <a:r>
              <a:rPr lang="de-CH" sz="1400" dirty="0" err="1">
                <a:solidFill>
                  <a:srgbClr val="919194"/>
                </a:solidFill>
                <a:latin typeface="HelveticaNeueLT Com 55 Roman"/>
              </a:rPr>
              <a:t>Cashback</a:t>
            </a:r>
            <a:r>
              <a:rPr lang="de-CH" sz="1400" dirty="0">
                <a:solidFill>
                  <a:srgbClr val="919194"/>
                </a:solidFill>
                <a:latin typeface="HelveticaNeueLT Com 55 Roman"/>
              </a:rPr>
              <a:t> kann erwartet werden?</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endParaRPr lang="de-CH" sz="1200" dirty="0">
              <a:solidFill>
                <a:srgbClr val="919194"/>
              </a:solidFill>
              <a:latin typeface="HelveticaNeueLT Com 55 Roman"/>
            </a:endParaRP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200" dirty="0">
                <a:solidFill>
                  <a:srgbClr val="919194"/>
                </a:solidFill>
                <a:latin typeface="HelveticaNeueLT Com 55 Roman"/>
              </a:rPr>
              <a:t>Stand Februar 2024:</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600" b="1" dirty="0">
                <a:solidFill>
                  <a:schemeClr val="accent2"/>
                </a:solidFill>
                <a:latin typeface="HelveticaNeueLT Com 55 Roman"/>
              </a:rPr>
              <a:t>EUR 1,88%</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600" b="1" dirty="0">
                <a:solidFill>
                  <a:schemeClr val="accent2"/>
                </a:solidFill>
                <a:latin typeface="HelveticaNeueLT Com 55 Roman"/>
              </a:rPr>
              <a:t>USD 2,61%</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600" b="1" dirty="0">
                <a:solidFill>
                  <a:schemeClr val="accent2"/>
                </a:solidFill>
                <a:latin typeface="HelveticaNeueLT Com 55 Roman"/>
              </a:rPr>
              <a:t>GBP 2,33%</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600" b="1" dirty="0">
                <a:solidFill>
                  <a:schemeClr val="accent2"/>
                </a:solidFill>
                <a:latin typeface="HelveticaNeueLT Com 55 Roman"/>
              </a:rPr>
              <a:t>CZK: 3,50%</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200" dirty="0">
                <a:solidFill>
                  <a:srgbClr val="919194"/>
                </a:solidFill>
                <a:latin typeface="HelveticaNeueLT Com 55 Roman"/>
              </a:rPr>
              <a:t>(Angaben ohne Gewähr)</a:t>
            </a:r>
          </a:p>
          <a:p>
            <a:pPr marL="0" marR="0" lvl="0" indent="0" algn="l" defTabSz="1035025" rtl="0" eaLnBrk="1" fontAlgn="base" latinLnBrk="0" hangingPunct="1">
              <a:lnSpc>
                <a:spcPct val="100000"/>
              </a:lnSpc>
              <a:spcBef>
                <a:spcPts val="0"/>
              </a:spcBef>
              <a:spcAft>
                <a:spcPts val="600"/>
              </a:spcAft>
              <a:buClr>
                <a:srgbClr val="E6140A"/>
              </a:buClr>
              <a:buSzTx/>
              <a:buFont typeface="Arial" panose="020B0604020202020204" pitchFamily="34" charset="0"/>
              <a:buNone/>
              <a:tabLst/>
              <a:defRPr/>
            </a:pPr>
            <a:r>
              <a:rPr lang="de-CH" sz="1600" dirty="0">
                <a:solidFill>
                  <a:srgbClr val="919194"/>
                </a:solidFill>
                <a:latin typeface="HelveticaNeueLT Com 55 Roman"/>
              </a:rPr>
              <a:t> </a:t>
            </a:r>
            <a:endParaRPr kumimoji="0" lang="de-CH" sz="1100" b="0" i="0" u="none" strike="noStrike" kern="1200" cap="none" spc="0" normalizeH="0" baseline="0" noProof="0" dirty="0">
              <a:ln>
                <a:noFill/>
              </a:ln>
              <a:solidFill>
                <a:srgbClr val="868689"/>
              </a:solidFill>
              <a:effectLst/>
              <a:uLnTx/>
              <a:uFillTx/>
              <a:latin typeface="HelveticaNeueLT Com 55 Roman"/>
              <a:ea typeface="MS PGothic" panose="020B0600070205080204" pitchFamily="34" charset="-128"/>
              <a:cs typeface="Segoe UI" panose="020B0502040204020203" pitchFamily="34" charset="0"/>
            </a:endParaRPr>
          </a:p>
        </p:txBody>
      </p:sp>
      <p:pic>
        <p:nvPicPr>
          <p:cNvPr id="15" name="Grafik 14">
            <a:extLst>
              <a:ext uri="{FF2B5EF4-FFF2-40B4-BE49-F238E27FC236}">
                <a16:creationId xmlns:a16="http://schemas.microsoft.com/office/drawing/2014/main" id="{41DD8D13-CEFB-40BA-95CD-71ECB62CBC7E}"/>
              </a:ext>
            </a:extLst>
          </p:cNvPr>
          <p:cNvPicPr>
            <a:picLocks noChangeAspect="1"/>
          </p:cNvPicPr>
          <p:nvPr/>
        </p:nvPicPr>
        <p:blipFill rotWithShape="1">
          <a:blip r:embed="rId5"/>
          <a:srcRect l="39174" r="-3221" b="12134"/>
          <a:stretch/>
        </p:blipFill>
        <p:spPr>
          <a:xfrm>
            <a:off x="10614713" y="406111"/>
            <a:ext cx="1352665" cy="571988"/>
          </a:xfrm>
          <a:prstGeom prst="rect">
            <a:avLst/>
          </a:prstGeom>
        </p:spPr>
      </p:pic>
    </p:spTree>
    <p:extLst>
      <p:ext uri="{BB962C8B-B14F-4D97-AF65-F5344CB8AC3E}">
        <p14:creationId xmlns:p14="http://schemas.microsoft.com/office/powerpoint/2010/main" val="126353809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Masterlayout">
  <a:themeElements>
    <a:clrScheme name="Benutzerdefiniert 45">
      <a:dk1>
        <a:srgbClr val="000000"/>
      </a:dk1>
      <a:lt1>
        <a:srgbClr val="FFFFFF"/>
      </a:lt1>
      <a:dk2>
        <a:srgbClr val="868689"/>
      </a:dk2>
      <a:lt2>
        <a:srgbClr val="F2F2F2"/>
      </a:lt2>
      <a:accent1>
        <a:srgbClr val="E6140A"/>
      </a:accent1>
      <a:accent2>
        <a:srgbClr val="28828B"/>
      </a:accent2>
      <a:accent3>
        <a:srgbClr val="A5BB1A"/>
      </a:accent3>
      <a:accent4>
        <a:srgbClr val="932C5F"/>
      </a:accent4>
      <a:accent5>
        <a:srgbClr val="61889D"/>
      </a:accent5>
      <a:accent6>
        <a:srgbClr val="F69F19"/>
      </a:accent6>
      <a:hlink>
        <a:srgbClr val="E6140A"/>
      </a:hlink>
      <a:folHlink>
        <a:srgbClr val="E6140A"/>
      </a:folHlink>
    </a:clrScheme>
    <a:fontScheme name="Benutzerdefiniert 8">
      <a:majorFont>
        <a:latin typeface="HelveticaNeueLT Com 55 Roman"/>
        <a:ea typeface=""/>
        <a:cs typeface=""/>
      </a:majorFont>
      <a:minorFont>
        <a:latin typeface="Corona LT"/>
        <a:ea typeface=""/>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bg2"/>
        </a:solidFill>
        <a:ln>
          <a:noFill/>
        </a:ln>
        <a:effectLst/>
      </a:spPr>
      <a:bodyPr rot="0" spcFirstLastPara="0" vertOverflow="overflow" horzOverflow="overflow" vert="horz" wrap="square" lIns="144000" tIns="144000" rIns="144000" bIns="144000" numCol="1" spcCol="0" rtlCol="0" fromWordArt="0" anchor="t" anchorCtr="0" forceAA="0" compatLnSpc="1">
        <a:prstTxWarp prst="textNoShape">
          <a:avLst/>
        </a:prstTxWarp>
        <a:noAutofit/>
      </a:bodyPr>
      <a:lstStyle>
        <a:defPPr marL="285750" indent="-285750" algn="l">
          <a:spcAft>
            <a:spcPts val="600"/>
          </a:spcAft>
          <a:buFont typeface="Arial" panose="020B0604020202020204" pitchFamily="34" charset="0"/>
          <a:buChar char="•"/>
          <a:defRPr sz="1600" dirty="0" err="1">
            <a:solidFill>
              <a:schemeClr val="tx2"/>
            </a:solidFill>
            <a:latin typeface="+mj-lt"/>
          </a:defRPr>
        </a:defPPr>
      </a:lstStyle>
      <a:style>
        <a:lnRef idx="2">
          <a:schemeClr val="accent1">
            <a:shade val="50000"/>
          </a:schemeClr>
        </a:lnRef>
        <a:fillRef idx="1">
          <a:schemeClr val="accent1"/>
        </a:fillRef>
        <a:effectRef idx="0">
          <a:schemeClr val="accent1"/>
        </a:effectRef>
        <a:fontRef idx="minor">
          <a:schemeClr val="lt1"/>
        </a:fontRef>
      </a:style>
    </a:spDef>
    <a:lnDef>
      <a:spPr>
        <a:ln w="6350" cmpd="sng">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bwMode="auto">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a:spPr>
      <a:bodyPr vert="horz" wrap="square" lIns="0" tIns="0" rIns="0" bIns="0" numCol="1" rtlCol="0" anchor="t" anchorCtr="0" compatLnSpc="1">
        <a:prstTxWarp prst="textNoShape">
          <a:avLst/>
        </a:prstTxWarp>
        <a:noAutofit/>
      </a:bodyPr>
      <a:lstStyle>
        <a:defPPr marL="285750" indent="-285750" algn="l">
          <a:spcAft>
            <a:spcPts val="800"/>
          </a:spcAft>
          <a:buFont typeface="Arial" panose="020B0604020202020204" pitchFamily="34" charset="0"/>
          <a:buChar char="•"/>
          <a:defRPr sz="1600" dirty="0" err="1" smtClean="0">
            <a:solidFill>
              <a:schemeClr val="tx2"/>
            </a:solidFill>
            <a:latin typeface="+mj-lt"/>
          </a:defRPr>
        </a:defPPr>
      </a:lstStyle>
    </a:txDef>
  </a:objectDefaults>
  <a:extraClrSchemeLst/>
  <a:extLst>
    <a:ext uri="{05A4C25C-085E-4340-85A3-A5531E510DB2}">
      <thm15:themeFamily xmlns:thm15="http://schemas.microsoft.com/office/thememl/2012/main" name="Bank WIR-Masterfolien-de.potx" id="{4AA9537A-72D5-4A1F-9D9E-F935667AF2DB}" vid="{584D5167-2999-4C11-B00E-23C878229209}"/>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lcf76f155ced4ddcb4097134ff3c332f xmlns="653b7b9a-1c9c-4ad2-b302-d9482876a22b">
      <Terms xmlns="http://schemas.microsoft.com/office/infopath/2007/PartnerControls"/>
    </lcf76f155ced4ddcb4097134ff3c332f>
    <_ip_UnifiedCompliancePolicyProperties xmlns="http://schemas.microsoft.com/sharepoint/v3" xsi:nil="true"/>
    <TaxCatchAll xmlns="682311e1-158b-4682-a394-2de28b0b757c"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kument" ma:contentTypeID="0x010100CA68A08D105FA14A9540AB805C8F7BAC" ma:contentTypeVersion="17" ma:contentTypeDescription="Ein neues Dokument erstellen." ma:contentTypeScope="" ma:versionID="02a3c2f9f9d15fe36d71c66033e74432">
  <xsd:schema xmlns:xsd="http://www.w3.org/2001/XMLSchema" xmlns:xs="http://www.w3.org/2001/XMLSchema" xmlns:p="http://schemas.microsoft.com/office/2006/metadata/properties" xmlns:ns1="http://schemas.microsoft.com/sharepoint/v3" xmlns:ns2="653b7b9a-1c9c-4ad2-b302-d9482876a22b" xmlns:ns3="682311e1-158b-4682-a394-2de28b0b757c" targetNamespace="http://schemas.microsoft.com/office/2006/metadata/properties" ma:root="true" ma:fieldsID="49edd6e9e756ca10636959b8b628cd4d" ns1:_="" ns2:_="" ns3:_="">
    <xsd:import namespace="http://schemas.microsoft.com/sharepoint/v3"/>
    <xsd:import namespace="653b7b9a-1c9c-4ad2-b302-d9482876a22b"/>
    <xsd:import namespace="682311e1-158b-4682-a394-2de28b0b757c"/>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DateTaken" minOccurs="0"/>
                <xsd:element ref="ns2:MediaServiceGenerationTime" minOccurs="0"/>
                <xsd:element ref="ns2:MediaServiceEventHashCode" minOccurs="0"/>
                <xsd:element ref="ns2:MediaLengthInSeconds" minOccurs="0"/>
                <xsd:element ref="ns1:_ip_UnifiedCompliancePolicyProperties" minOccurs="0"/>
                <xsd:element ref="ns1:_ip_UnifiedCompliancePolicyUIAction" minOccurs="0"/>
                <xsd:element ref="ns2:lcf76f155ced4ddcb4097134ff3c332f" minOccurs="0"/>
                <xsd:element ref="ns3:TaxCatchAll" minOccurs="0"/>
                <xsd:element ref="ns2:MediaServiceOCR" minOccurs="0"/>
                <xsd:element ref="ns3:SharedWithUsers" minOccurs="0"/>
                <xsd:element ref="ns3:SharedWithDetails" minOccurs="0"/>
                <xsd:element ref="ns2:MediaServiceSearchProperties" minOccurs="0"/>
                <xsd:element ref="ns2:MediaServiceLoca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5" nillable="true" ma:displayName="Eigenschaften der einheitlichen Compliancerichtlinie" ma:hidden="true" ma:internalName="_ip_UnifiedCompliancePolicyProperties">
      <xsd:simpleType>
        <xsd:restriction base="dms:Note"/>
      </xsd:simpleType>
    </xsd:element>
    <xsd:element name="_ip_UnifiedCompliancePolicyUIAction" ma:index="16" nillable="true" ma:displayName="UI-Aktion der einheitlichen Compliancerichtlinie"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53b7b9a-1c9c-4ad2-b302-d9482876a22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DateTaken" ma:index="11" nillable="true" ma:displayName="MediaServiceDateTaken" ma:hidden="true" ma:indexed="true" ma:internalName="MediaServiceDateTaken"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LengthInSeconds" ma:index="14" nillable="true" ma:displayName="MediaLengthInSeconds" ma:hidden="true" ma:internalName="MediaLengthInSeconds" ma:readOnly="true">
      <xsd:simpleType>
        <xsd:restriction base="dms:Unknown"/>
      </xsd:simpleType>
    </xsd:element>
    <xsd:element name="lcf76f155ced4ddcb4097134ff3c332f" ma:index="18" nillable="true" ma:taxonomy="true" ma:internalName="lcf76f155ced4ddcb4097134ff3c332f" ma:taxonomyFieldName="MediaServiceImageTags" ma:displayName="Bildmarkierungen" ma:readOnly="false" ma:fieldId="{5cf76f15-5ced-4ddc-b409-7134ff3c332f}" ma:taxonomyMulti="true" ma:sspId="7406caaf-e472-4b24-a6d6-95dd5be9f050" ma:termSetId="09814cd3-568e-fe90-9814-8d621ff8fb84" ma:anchorId="fba54fb3-c3e1-fe81-a776-ca4b69148c4d" ma:open="true" ma:isKeyword="false">
      <xsd:complexType>
        <xsd:sequence>
          <xsd:element ref="pc:Terms" minOccurs="0" maxOccurs="1"/>
        </xsd:sequence>
      </xsd:complexType>
    </xsd:element>
    <xsd:element name="MediaServiceOCR" ma:index="20" nillable="true" ma:displayName="Extracted Text" ma:internalName="MediaServiceOCR" ma:readOnly="true">
      <xsd:simpleType>
        <xsd:restriction base="dms:Note">
          <xsd:maxLength value="255"/>
        </xsd:restriction>
      </xsd:simpleType>
    </xsd:element>
    <xsd:element name="MediaServiceSearchProperties" ma:index="23" nillable="true" ma:displayName="MediaServiceSearchProperties" ma:hidden="true" ma:internalName="MediaServiceSearchProperties" ma:readOnly="true">
      <xsd:simpleType>
        <xsd:restriction base="dms:Note"/>
      </xsd:simpleType>
    </xsd:element>
    <xsd:element name="MediaServiceLocation" ma:index="24" nillable="true" ma:displayName="Location" ma:description="" ma:indexed="true"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682311e1-158b-4682-a394-2de28b0b757c" elementFormDefault="qualified">
    <xsd:import namespace="http://schemas.microsoft.com/office/2006/documentManagement/types"/>
    <xsd:import namespace="http://schemas.microsoft.com/office/infopath/2007/PartnerControls"/>
    <xsd:element name="TaxCatchAll" ma:index="19" nillable="true" ma:displayName="Taxonomy Catch All Column" ma:hidden="true" ma:list="{a4dd0b50-fc59-4880-a257-04977e20a45e}" ma:internalName="TaxCatchAll" ma:showField="CatchAllData" ma:web="682311e1-158b-4682-a394-2de28b0b757c">
      <xsd:complexType>
        <xsd:complexContent>
          <xsd:extension base="dms:MultiChoiceLookup">
            <xsd:sequence>
              <xsd:element name="Value" type="dms:Lookup" maxOccurs="unbounded" minOccurs="0" nillable="true"/>
            </xsd:sequence>
          </xsd:extension>
        </xsd:complexContent>
      </xsd:complexType>
    </xsd:element>
    <xsd:element name="SharedWithUsers" ma:index="21" nillable="true" ma:displayName="Freigegeben für"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2" nillable="true" ma:displayName="Freigegeben für -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DADC4CC-64EF-4C8A-8782-796754684C48}">
  <ds:schemaRefs>
    <ds:schemaRef ds:uri="1d3cd4f1-b049-477f-b52c-ea21af7b2b64"/>
    <ds:schemaRef ds:uri="http://schemas.openxmlformats.org/package/2006/metadata/core-properties"/>
    <ds:schemaRef ds:uri="http://schemas.microsoft.com/office/2006/metadata/properties"/>
    <ds:schemaRef ds:uri="http://schemas.microsoft.com/office/infopath/2007/PartnerControls"/>
    <ds:schemaRef ds:uri="http://purl.org/dc/terms/"/>
    <ds:schemaRef ds:uri="http://purl.org/dc/elements/1.1/"/>
    <ds:schemaRef ds:uri="http://schemas.microsoft.com/office/2006/documentManagement/types"/>
    <ds:schemaRef ds:uri="http://www.w3.org/XML/1998/namespace"/>
    <ds:schemaRef ds:uri="http://purl.org/dc/dcmitype/"/>
    <ds:schemaRef ds:uri="http://schemas.microsoft.com/sharepoint/v3"/>
    <ds:schemaRef ds:uri="653b7b9a-1c9c-4ad2-b302-d9482876a22b"/>
    <ds:schemaRef ds:uri="682311e1-158b-4682-a394-2de28b0b757c"/>
  </ds:schemaRefs>
</ds:datastoreItem>
</file>

<file path=customXml/itemProps2.xml><?xml version="1.0" encoding="utf-8"?>
<ds:datastoreItem xmlns:ds="http://schemas.openxmlformats.org/officeDocument/2006/customXml" ds:itemID="{8697E085-F498-4225-ABDC-7A271EECA46C}">
  <ds:schemaRefs>
    <ds:schemaRef ds:uri="http://schemas.microsoft.com/sharepoint/v3/contenttype/forms"/>
  </ds:schemaRefs>
</ds:datastoreItem>
</file>

<file path=customXml/itemProps3.xml><?xml version="1.0" encoding="utf-8"?>
<ds:datastoreItem xmlns:ds="http://schemas.openxmlformats.org/officeDocument/2006/customXml" ds:itemID="{0C9151B4-22B6-4CA7-A1D4-1E2BA0F8A9B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653b7b9a-1c9c-4ad2-b302-d9482876a22b"/>
    <ds:schemaRef ds:uri="682311e1-158b-4682-a394-2de28b0b757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Metadata/LabelInfo.xml><?xml version="1.0" encoding="utf-8"?>
<clbl:labelList xmlns:clbl="http://schemas.microsoft.com/office/2020/mipLabelMetadata">
  <clbl:label id="{c0f58dc3-0ebf-40a0-a876-1876b538ca25}" enabled="0" method="" siteId="{c0f58dc3-0ebf-40a0-a876-1876b538ca25}" removed="1"/>
</clbl:labelList>
</file>

<file path=docProps/app.xml><?xml version="1.0" encoding="utf-8"?>
<Properties xmlns="http://schemas.openxmlformats.org/officeDocument/2006/extended-properties" xmlns:vt="http://schemas.openxmlformats.org/officeDocument/2006/docPropsVTypes">
  <Template/>
  <TotalTime>0</TotalTime>
  <Words>1551</Words>
  <Application>Microsoft Office PowerPoint</Application>
  <PresentationFormat>Breitbild</PresentationFormat>
  <Paragraphs>260</Paragraphs>
  <Slides>11</Slides>
  <Notes>4</Notes>
  <HiddenSlides>0</HiddenSlides>
  <MMClips>0</MMClips>
  <ScaleCrop>false</ScaleCrop>
  <HeadingPairs>
    <vt:vector size="8" baseType="variant">
      <vt:variant>
        <vt:lpstr>Verwendete Schriftarten</vt:lpstr>
      </vt:variant>
      <vt:variant>
        <vt:i4>9</vt:i4>
      </vt:variant>
      <vt:variant>
        <vt:lpstr>Design</vt:lpstr>
      </vt:variant>
      <vt:variant>
        <vt:i4>1</vt:i4>
      </vt:variant>
      <vt:variant>
        <vt:lpstr>Eingebettete OLE-Server</vt:lpstr>
      </vt:variant>
      <vt:variant>
        <vt:i4>1</vt:i4>
      </vt:variant>
      <vt:variant>
        <vt:lpstr>Folientitel</vt:lpstr>
      </vt:variant>
      <vt:variant>
        <vt:i4>11</vt:i4>
      </vt:variant>
    </vt:vector>
  </HeadingPairs>
  <TitlesOfParts>
    <vt:vector size="22" baseType="lpstr">
      <vt:lpstr>MS PGothic</vt:lpstr>
      <vt:lpstr>72 Light</vt:lpstr>
      <vt:lpstr>Arial</vt:lpstr>
      <vt:lpstr>Calibri</vt:lpstr>
      <vt:lpstr>Corona LT</vt:lpstr>
      <vt:lpstr>HelveticaNeueLT Com 55 Roman</vt:lpstr>
      <vt:lpstr>HelveticaNeueLT Pro 55 Roman</vt:lpstr>
      <vt:lpstr>Symbol</vt:lpstr>
      <vt:lpstr>Wingdings</vt:lpstr>
      <vt:lpstr>Masterlayout</vt:lpstr>
      <vt:lpstr>think-cell Folie</vt:lpstr>
      <vt:lpstr>PowerPoint-Präsentation</vt:lpstr>
      <vt:lpstr>amnis – Die All-in-One Lösung für Ihr globales Banking Vereinfacht internationale Währungsgeschäfte und senkt Ihre Kosten</vt:lpstr>
      <vt:lpstr>amnis – globales Banking mit Mehrwert Ihre Wettbewerbsvorteile</vt:lpstr>
      <vt:lpstr>PowerPoint-Präsentation</vt:lpstr>
      <vt:lpstr>PAY – für schnelle internationale Zahlungen weltweit amnis Leistungen für Sie</vt:lpstr>
      <vt:lpstr>COLLECT – Globales Firmenkonto für Zahlungseingänge amnis Leistungen für Sie</vt:lpstr>
      <vt:lpstr>EXCHANGE – Viele Möglichkeiten im Devisenhandel amnis Leistungen für Sie</vt:lpstr>
      <vt:lpstr>CARDS – Multiwährungs-Debitkarten für Ihr Business amnis Leistungen für Sie</vt:lpstr>
      <vt:lpstr>EARN – Cashback Guthaben auf Ihren Fremdwährungen amnis Leistungen für Sie</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Masterfolien Powerpoint</dc:title>
  <dc:creator>Meyer Eliane</dc:creator>
  <cp:lastModifiedBy>Meyer Eliane</cp:lastModifiedBy>
  <cp:revision>102</cp:revision>
  <cp:lastPrinted>2019-05-20T13:38:58Z</cp:lastPrinted>
  <dcterms:created xsi:type="dcterms:W3CDTF">2021-08-03T14:20:05Z</dcterms:created>
  <dcterms:modified xsi:type="dcterms:W3CDTF">2024-04-09T06:45:3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4F81427E9196E40B57335D63BC5F5E5</vt:lpwstr>
  </property>
  <property fmtid="{D5CDD505-2E9C-101B-9397-08002B2CF9AE}" pid="3" name="Order">
    <vt:lpwstr>5900.00000000000</vt:lpwstr>
  </property>
  <property fmtid="{D5CDD505-2E9C-101B-9397-08002B2CF9AE}" pid="4" name="MediaServiceImageTags">
    <vt:lpwstr/>
  </property>
</Properties>
</file>